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326" r:id="rId5"/>
    <p:sldId id="2147483237" r:id="rId6"/>
    <p:sldId id="2147483243" r:id="rId7"/>
  </p:sldIdLst>
  <p:sldSz cx="12192000" cy="6858000"/>
  <p:notesSz cx="6811963" cy="9942513"/>
  <p:custDataLst>
    <p:tags r:id="rId9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9446"/>
    <a:srgbClr val="507867"/>
    <a:srgbClr val="F2F2F2"/>
    <a:srgbClr val="F0F0F0"/>
    <a:srgbClr val="AEC8B7"/>
    <a:srgbClr val="BBCABA"/>
    <a:srgbClr val="CC0000"/>
    <a:srgbClr val="FFC2C2"/>
    <a:srgbClr val="F2DE8A"/>
    <a:srgbClr val="FAEE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EBC88B-5C7A-4916-B1F1-7A80FCA8A610}" v="7" dt="2025-05-29T11:19:27.290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05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3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E5EBC88B-5C7A-4916-B1F1-7A80FCA8A610}"/>
    <pc:docChg chg="custSel addSld modSld">
      <pc:chgData name="Chamaria, Shridhar" userId="8333b265-e735-45f8-a921-ce459cc3483a" providerId="ADAL" clId="{E5EBC88B-5C7A-4916-B1F1-7A80FCA8A610}" dt="2025-05-29T11:19:27.290" v="44"/>
      <pc:docMkLst>
        <pc:docMk/>
      </pc:docMkLst>
      <pc:sldChg chg="addSp delSp modSp add mod">
        <pc:chgData name="Chamaria, Shridhar" userId="8333b265-e735-45f8-a921-ce459cc3483a" providerId="ADAL" clId="{E5EBC88B-5C7A-4916-B1F1-7A80FCA8A610}" dt="2025-05-29T11:19:27.290" v="44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E5EBC88B-5C7A-4916-B1F1-7A80FCA8A610}" dt="2025-05-29T11:19:22.637" v="24"/>
          <ac:spMkLst>
            <pc:docMk/>
            <pc:sldMk cId="3147993296" sldId="326"/>
            <ac:spMk id="2" creationId="{B6C88C8A-6D70-E41F-D9DB-FF7FA9FDF4D1}"/>
          </ac:spMkLst>
        </pc:spChg>
        <pc:spChg chg="mod">
          <ac:chgData name="Chamaria, Shridhar" userId="8333b265-e735-45f8-a921-ce459cc3483a" providerId="ADAL" clId="{E5EBC88B-5C7A-4916-B1F1-7A80FCA8A610}" dt="2025-05-29T11:19:27.274" v="42" actId="948"/>
          <ac:spMkLst>
            <pc:docMk/>
            <pc:sldMk cId="3147993296" sldId="326"/>
            <ac:spMk id="3" creationId="{FBD7D053-33B8-42F5-A1D9-DB27B4FBC23D}"/>
          </ac:spMkLst>
        </pc:spChg>
        <pc:graphicFrameChg chg="mod">
          <ac:chgData name="Chamaria, Shridhar" userId="8333b265-e735-45f8-a921-ce459cc3483a" providerId="ADAL" clId="{E5EBC88B-5C7A-4916-B1F1-7A80FCA8A610}" dt="2025-05-29T11:19:27.290" v="44"/>
          <ac:graphicFrameMkLst>
            <pc:docMk/>
            <pc:sldMk cId="3147993296" sldId="326"/>
            <ac:graphicFrameMk id="5" creationId="{D20B36EA-A7FC-DE1C-B24A-EF2BF6BE694C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781" y="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/>
          <a:lstStyle>
            <a:lvl1pPr algn="r">
              <a:defRPr sz="1200"/>
            </a:lvl1pPr>
          </a:lstStyle>
          <a:p>
            <a:fld id="{F7006F10-0F78-4CFA-AA8D-C1C2B8A2DD11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67413" cy="3357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4" tIns="45796" rIns="91594" bIns="45796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84429"/>
            <a:ext cx="5450207" cy="3914675"/>
          </a:xfrm>
          <a:prstGeom prst="rect">
            <a:avLst/>
          </a:prstGeom>
        </p:spPr>
        <p:txBody>
          <a:bodyPr vert="horz" lIns="91594" tIns="45796" rIns="91594" bIns="4579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483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781" y="944483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 anchor="b"/>
          <a:lstStyle>
            <a:lvl1pPr algn="r">
              <a:defRPr sz="1200"/>
            </a:lvl1pPr>
          </a:lstStyle>
          <a:p>
            <a:fld id="{C2E71057-9585-4F29-B99F-8D1A15D7B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386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5C0187-ED29-49E7-B32C-EC6FC72E313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7368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5C0187-ED29-49E7-B32C-EC6FC72E313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65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tfpLayoutConfig" hidden="1"/>
          <p:cNvSpPr txBox="1"/>
          <p:nvPr userDrawn="1"/>
        </p:nvSpPr>
        <p:spPr>
          <a:xfrm>
            <a:off x="16934" y="16933"/>
            <a:ext cx="11853333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33">
                <a:solidFill>
                  <a:srgbClr val="FFFFFF">
                    <a:alpha val="0"/>
                  </a:srgbClr>
                </a:solidFill>
              </a:rPr>
              <a:t>overall_0_132127497876146684 columns_1_132127497876146684 </a:t>
            </a:r>
          </a:p>
        </p:txBody>
      </p:sp>
      <p:sp>
        <p:nvSpPr>
          <p:cNvPr id="8" name="Slide Title"/>
          <p:cNvSpPr>
            <a:spLocks noGrp="1"/>
          </p:cNvSpPr>
          <p:nvPr>
            <p:ph type="title" hasCustomPrompt="1"/>
          </p:nvPr>
        </p:nvSpPr>
        <p:spPr>
          <a:xfrm>
            <a:off x="333667" y="312841"/>
            <a:ext cx="9905200" cy="909468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/>
          <a:p>
            <a:r>
              <a:rPr lang="en-GB"/>
              <a:t>Click to </a:t>
            </a:r>
            <a:r>
              <a:rPr lang="pl-PL"/>
              <a:t>add tit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29967" y="6567767"/>
            <a:ext cx="2332067" cy="290400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Meeting // Da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7998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igital 3_Sample Output_E-commerce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  <p:sldLayoutId id="2147483664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8.emf"/><Relationship Id="rId26" Type="http://schemas.openxmlformats.org/officeDocument/2006/relationships/image" Target="../media/image16.png"/><Relationship Id="rId3" Type="http://schemas.openxmlformats.org/officeDocument/2006/relationships/tags" Target="../tags/tag7.xml"/><Relationship Id="rId21" Type="http://schemas.openxmlformats.org/officeDocument/2006/relationships/image" Target="../media/image11.emf"/><Relationship Id="rId7" Type="http://schemas.openxmlformats.org/officeDocument/2006/relationships/tags" Target="../tags/tag11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emf"/><Relationship Id="rId25" Type="http://schemas.openxmlformats.org/officeDocument/2006/relationships/image" Target="../media/image15.png"/><Relationship Id="rId2" Type="http://schemas.openxmlformats.org/officeDocument/2006/relationships/tags" Target="../tags/tag6.xml"/><Relationship Id="rId16" Type="http://schemas.openxmlformats.org/officeDocument/2006/relationships/image" Target="../media/image6.emf"/><Relationship Id="rId20" Type="http://schemas.openxmlformats.org/officeDocument/2006/relationships/image" Target="../media/image10.emf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4.png"/><Relationship Id="rId5" Type="http://schemas.openxmlformats.org/officeDocument/2006/relationships/tags" Target="../tags/tag9.xml"/><Relationship Id="rId15" Type="http://schemas.openxmlformats.org/officeDocument/2006/relationships/image" Target="../media/image5.emf"/><Relationship Id="rId23" Type="http://schemas.openxmlformats.org/officeDocument/2006/relationships/image" Target="../media/image13.png"/><Relationship Id="rId10" Type="http://schemas.openxmlformats.org/officeDocument/2006/relationships/tags" Target="../tags/tag14.xml"/><Relationship Id="rId19" Type="http://schemas.openxmlformats.org/officeDocument/2006/relationships/image" Target="../media/image9.emf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1.emf"/><Relationship Id="rId22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5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" Type="http://schemas.openxmlformats.org/officeDocument/2006/relationships/tags" Target="../tags/tag17.xml"/><Relationship Id="rId21" Type="http://schemas.openxmlformats.org/officeDocument/2006/relationships/image" Target="../media/image24.png"/><Relationship Id="rId7" Type="http://schemas.openxmlformats.org/officeDocument/2006/relationships/tags" Target="../tags/tag21.xml"/><Relationship Id="rId12" Type="http://schemas.openxmlformats.org/officeDocument/2006/relationships/image" Target="../media/image1.emf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2" Type="http://schemas.openxmlformats.org/officeDocument/2006/relationships/tags" Target="../tags/tag16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16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oleObject" Target="../embeddings/oleObject4.bin"/><Relationship Id="rId24" Type="http://schemas.openxmlformats.org/officeDocument/2006/relationships/image" Target="../media/image27.png"/><Relationship Id="rId5" Type="http://schemas.openxmlformats.org/officeDocument/2006/relationships/tags" Target="../tags/tag19.xml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22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715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ital Deck 3 – E-Commerce</a:t>
            </a:r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think-cell data - do not delete" hidden="1">
            <a:extLst>
              <a:ext uri="{FF2B5EF4-FFF2-40B4-BE49-F238E27FC236}">
                <a16:creationId xmlns:a16="http://schemas.microsoft.com/office/drawing/2014/main" id="{34069008-12E7-35A6-7410-A9EE7DCC6F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408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9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069008-12E7-35A6-7410-A9EE7DCC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5" name="btfpColumnIndicatorGroup2">
            <a:extLst>
              <a:ext uri="{FF2B5EF4-FFF2-40B4-BE49-F238E27FC236}">
                <a16:creationId xmlns:a16="http://schemas.microsoft.com/office/drawing/2014/main" id="{C7BA5517-B80F-E2BB-D2DA-D6B498A5A11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13" name="btfpColumnGapBlocker843254">
              <a:extLst>
                <a:ext uri="{FF2B5EF4-FFF2-40B4-BE49-F238E27FC236}">
                  <a16:creationId xmlns:a16="http://schemas.microsoft.com/office/drawing/2014/main" id="{1EBB5EFB-88F2-567C-26CE-BDE88EA04953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1" name="btfpColumnGapBlocker755633">
              <a:extLst>
                <a:ext uri="{FF2B5EF4-FFF2-40B4-BE49-F238E27FC236}">
                  <a16:creationId xmlns:a16="http://schemas.microsoft.com/office/drawing/2014/main" id="{E8495C66-CE36-28FA-FA2D-6B08BAB59C8E}"/>
                </a:ext>
              </a:extLst>
            </p:cNvPr>
            <p:cNvSpPr/>
            <p:nvPr/>
          </p:nvSpPr>
          <p:spPr bwMode="gray">
            <a:xfrm>
              <a:off x="10137208" y="692658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9" name="btfpColumnIndicator209633">
              <a:extLst>
                <a:ext uri="{FF2B5EF4-FFF2-40B4-BE49-F238E27FC236}">
                  <a16:creationId xmlns:a16="http://schemas.microsoft.com/office/drawing/2014/main" id="{B854CF72-FFCD-C850-AB97-2D77F7DBCD12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btfpColumnIndicator871706">
              <a:extLst>
                <a:ext uri="{FF2B5EF4-FFF2-40B4-BE49-F238E27FC236}">
                  <a16:creationId xmlns:a16="http://schemas.microsoft.com/office/drawing/2014/main" id="{D5C7E03B-E55A-5FCD-72B7-718378E3D210}"/>
                </a:ext>
              </a:extLst>
            </p:cNvPr>
            <p:cNvCxnSpPr/>
            <p:nvPr/>
          </p:nvCxnSpPr>
          <p:spPr bwMode="gray">
            <a:xfrm flipV="1">
              <a:off x="1067775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btfpColumnGapBlocker885677">
              <a:extLst>
                <a:ext uri="{FF2B5EF4-FFF2-40B4-BE49-F238E27FC236}">
                  <a16:creationId xmlns:a16="http://schemas.microsoft.com/office/drawing/2014/main" id="{7DE06186-ACA8-B29F-E7AC-B86BEA8B5EE4}"/>
                </a:ext>
              </a:extLst>
            </p:cNvPr>
            <p:cNvSpPr/>
            <p:nvPr/>
          </p:nvSpPr>
          <p:spPr bwMode="gray">
            <a:xfrm>
              <a:off x="8412616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3" name="btfpColumnIndicator368994">
              <a:extLst>
                <a:ext uri="{FF2B5EF4-FFF2-40B4-BE49-F238E27FC236}">
                  <a16:creationId xmlns:a16="http://schemas.microsoft.com/office/drawing/2014/main" id="{5E8F7D7B-E398-74FF-816E-E0B88002C167}"/>
                </a:ext>
              </a:extLst>
            </p:cNvPr>
            <p:cNvCxnSpPr/>
            <p:nvPr/>
          </p:nvCxnSpPr>
          <p:spPr bwMode="gray">
            <a:xfrm flipV="1">
              <a:off x="101372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btfpColumnIndicator326123">
              <a:extLst>
                <a:ext uri="{FF2B5EF4-FFF2-40B4-BE49-F238E27FC236}">
                  <a16:creationId xmlns:a16="http://schemas.microsoft.com/office/drawing/2014/main" id="{840DC602-6A4D-F895-318F-154C1447B7CC}"/>
                </a:ext>
              </a:extLst>
            </p:cNvPr>
            <p:cNvCxnSpPr/>
            <p:nvPr/>
          </p:nvCxnSpPr>
          <p:spPr bwMode="gray">
            <a:xfrm flipV="1">
              <a:off x="895316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btfpColumnGapBlocker805267">
              <a:extLst>
                <a:ext uri="{FF2B5EF4-FFF2-40B4-BE49-F238E27FC236}">
                  <a16:creationId xmlns:a16="http://schemas.microsoft.com/office/drawing/2014/main" id="{B6543ED4-B307-B590-536C-37B8E9F312AE}"/>
                </a:ext>
              </a:extLst>
            </p:cNvPr>
            <p:cNvSpPr/>
            <p:nvPr/>
          </p:nvSpPr>
          <p:spPr bwMode="gray">
            <a:xfrm>
              <a:off x="668802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7" name="btfpColumnIndicator462337">
              <a:extLst>
                <a:ext uri="{FF2B5EF4-FFF2-40B4-BE49-F238E27FC236}">
                  <a16:creationId xmlns:a16="http://schemas.microsoft.com/office/drawing/2014/main" id="{89F8469E-4964-9EA0-D22B-0B3E5E82D51A}"/>
                </a:ext>
              </a:extLst>
            </p:cNvPr>
            <p:cNvCxnSpPr/>
            <p:nvPr/>
          </p:nvCxnSpPr>
          <p:spPr bwMode="gray">
            <a:xfrm flipV="1">
              <a:off x="841261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btfpColumnIndicator706387">
              <a:extLst>
                <a:ext uri="{FF2B5EF4-FFF2-40B4-BE49-F238E27FC236}">
                  <a16:creationId xmlns:a16="http://schemas.microsoft.com/office/drawing/2014/main" id="{325FB6C1-54D1-31E2-9894-7E5CB78CD5BB}"/>
                </a:ext>
              </a:extLst>
            </p:cNvPr>
            <p:cNvCxnSpPr/>
            <p:nvPr/>
          </p:nvCxnSpPr>
          <p:spPr bwMode="gray">
            <a:xfrm flipV="1">
              <a:off x="722856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btfpColumnGapBlocker168858">
              <a:extLst>
                <a:ext uri="{FF2B5EF4-FFF2-40B4-BE49-F238E27FC236}">
                  <a16:creationId xmlns:a16="http://schemas.microsoft.com/office/drawing/2014/main" id="{FDBFF8DD-A356-00F7-8D2C-3177492E2837}"/>
                </a:ext>
              </a:extLst>
            </p:cNvPr>
            <p:cNvSpPr/>
            <p:nvPr/>
          </p:nvSpPr>
          <p:spPr bwMode="gray">
            <a:xfrm>
              <a:off x="496343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1" name="btfpColumnIndicator112885">
              <a:extLst>
                <a:ext uri="{FF2B5EF4-FFF2-40B4-BE49-F238E27FC236}">
                  <a16:creationId xmlns:a16="http://schemas.microsoft.com/office/drawing/2014/main" id="{3F8E3A61-CAD5-8395-323A-F0CCAF0F8B67}"/>
                </a:ext>
              </a:extLst>
            </p:cNvPr>
            <p:cNvCxnSpPr/>
            <p:nvPr/>
          </p:nvCxnSpPr>
          <p:spPr bwMode="gray">
            <a:xfrm flipV="1">
              <a:off x="668802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btfpColumnIndicator635866">
              <a:extLst>
                <a:ext uri="{FF2B5EF4-FFF2-40B4-BE49-F238E27FC236}">
                  <a16:creationId xmlns:a16="http://schemas.microsoft.com/office/drawing/2014/main" id="{A6DC4B65-7435-66CC-B300-96ECD3E90687}"/>
                </a:ext>
              </a:extLst>
            </p:cNvPr>
            <p:cNvCxnSpPr/>
            <p:nvPr/>
          </p:nvCxnSpPr>
          <p:spPr bwMode="gray">
            <a:xfrm flipV="1">
              <a:off x="550397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btfpColumnGapBlocker861449">
              <a:extLst>
                <a:ext uri="{FF2B5EF4-FFF2-40B4-BE49-F238E27FC236}">
                  <a16:creationId xmlns:a16="http://schemas.microsoft.com/office/drawing/2014/main" id="{EE6F59ED-3896-E3B7-8FE1-955463BB555C}"/>
                </a:ext>
              </a:extLst>
            </p:cNvPr>
            <p:cNvSpPr/>
            <p:nvPr/>
          </p:nvSpPr>
          <p:spPr bwMode="gray">
            <a:xfrm>
              <a:off x="3238840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5" name="btfpColumnIndicator855891">
              <a:extLst>
                <a:ext uri="{FF2B5EF4-FFF2-40B4-BE49-F238E27FC236}">
                  <a16:creationId xmlns:a16="http://schemas.microsoft.com/office/drawing/2014/main" id="{E98D86ED-4C5F-1285-EF7B-503866DD2AEC}"/>
                </a:ext>
              </a:extLst>
            </p:cNvPr>
            <p:cNvCxnSpPr/>
            <p:nvPr/>
          </p:nvCxnSpPr>
          <p:spPr bwMode="gray">
            <a:xfrm flipV="1">
              <a:off x="496343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btfpColumnIndicator583260">
              <a:extLst>
                <a:ext uri="{FF2B5EF4-FFF2-40B4-BE49-F238E27FC236}">
                  <a16:creationId xmlns:a16="http://schemas.microsoft.com/office/drawing/2014/main" id="{56D04A58-6442-6CA2-14CB-1E141A10F538}"/>
                </a:ext>
              </a:extLst>
            </p:cNvPr>
            <p:cNvCxnSpPr/>
            <p:nvPr/>
          </p:nvCxnSpPr>
          <p:spPr bwMode="gray">
            <a:xfrm flipV="1">
              <a:off x="377938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btfpColumnGapBlocker532915">
              <a:extLst>
                <a:ext uri="{FF2B5EF4-FFF2-40B4-BE49-F238E27FC236}">
                  <a16:creationId xmlns:a16="http://schemas.microsoft.com/office/drawing/2014/main" id="{3949A19A-7343-1C1A-2CE4-49D18BDE1BC2}"/>
                </a:ext>
              </a:extLst>
            </p:cNvPr>
            <p:cNvSpPr/>
            <p:nvPr/>
          </p:nvSpPr>
          <p:spPr bwMode="gray">
            <a:xfrm>
              <a:off x="151424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8" name="btfpColumnIndicator339233">
              <a:extLst>
                <a:ext uri="{FF2B5EF4-FFF2-40B4-BE49-F238E27FC236}">
                  <a16:creationId xmlns:a16="http://schemas.microsoft.com/office/drawing/2014/main" id="{F1F6105A-F478-7119-5360-BFFF8A84A7C9}"/>
                </a:ext>
              </a:extLst>
            </p:cNvPr>
            <p:cNvCxnSpPr/>
            <p:nvPr/>
          </p:nvCxnSpPr>
          <p:spPr bwMode="gray">
            <a:xfrm flipV="1">
              <a:off x="323884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btfpColumnIndicator652963">
              <a:extLst>
                <a:ext uri="{FF2B5EF4-FFF2-40B4-BE49-F238E27FC236}">
                  <a16:creationId xmlns:a16="http://schemas.microsoft.com/office/drawing/2014/main" id="{CFDED4EC-2EDC-4059-6E0A-669ADE125377}"/>
                </a:ext>
              </a:extLst>
            </p:cNvPr>
            <p:cNvCxnSpPr/>
            <p:nvPr/>
          </p:nvCxnSpPr>
          <p:spPr bwMode="gray">
            <a:xfrm flipV="1">
              <a:off x="20547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btfpColumnGapBlocker969880">
              <a:extLst>
                <a:ext uri="{FF2B5EF4-FFF2-40B4-BE49-F238E27FC236}">
                  <a16:creationId xmlns:a16="http://schemas.microsoft.com/office/drawing/2014/main" id="{9090291A-DB4E-F728-4FD8-5C3643B4480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2" name="btfpColumnIndicator164333">
              <a:extLst>
                <a:ext uri="{FF2B5EF4-FFF2-40B4-BE49-F238E27FC236}">
                  <a16:creationId xmlns:a16="http://schemas.microsoft.com/office/drawing/2014/main" id="{2CAEDA80-9534-B07F-CC2B-13124A1CB8CE}"/>
                </a:ext>
              </a:extLst>
            </p:cNvPr>
            <p:cNvCxnSpPr/>
            <p:nvPr/>
          </p:nvCxnSpPr>
          <p:spPr bwMode="gray">
            <a:xfrm flipV="1">
              <a:off x="151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btfpColumnIndicator968285">
              <a:extLst>
                <a:ext uri="{FF2B5EF4-FFF2-40B4-BE49-F238E27FC236}">
                  <a16:creationId xmlns:a16="http://schemas.microsoft.com/office/drawing/2014/main" id="{714EA7B3-0346-DD7B-A599-19A47AD0470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4" name="btfpColumnIndicatorGroup1">
            <a:extLst>
              <a:ext uri="{FF2B5EF4-FFF2-40B4-BE49-F238E27FC236}">
                <a16:creationId xmlns:a16="http://schemas.microsoft.com/office/drawing/2014/main" id="{2B0169BF-862E-EC28-DB96-9316C1A7489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12" name="btfpColumnGapBlocker224279">
              <a:extLst>
                <a:ext uri="{FF2B5EF4-FFF2-40B4-BE49-F238E27FC236}">
                  <a16:creationId xmlns:a16="http://schemas.microsoft.com/office/drawing/2014/main" id="{F1549801-2068-6BDC-60E4-653A5A98EB53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0" name="btfpColumnGapBlocker315940">
              <a:extLst>
                <a:ext uri="{FF2B5EF4-FFF2-40B4-BE49-F238E27FC236}">
                  <a16:creationId xmlns:a16="http://schemas.microsoft.com/office/drawing/2014/main" id="{D5C3B16F-E7AA-5371-4ADA-DF4EDEE51003}"/>
                </a:ext>
              </a:extLst>
            </p:cNvPr>
            <p:cNvSpPr/>
            <p:nvPr/>
          </p:nvSpPr>
          <p:spPr bwMode="gray">
            <a:xfrm>
              <a:off x="10137208" y="-20574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btfpColumnIndicator300527">
              <a:extLst>
                <a:ext uri="{FF2B5EF4-FFF2-40B4-BE49-F238E27FC236}">
                  <a16:creationId xmlns:a16="http://schemas.microsoft.com/office/drawing/2014/main" id="{A9A77281-D562-A13E-9E92-E526E461A635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btfpColumnIndicator333460">
              <a:extLst>
                <a:ext uri="{FF2B5EF4-FFF2-40B4-BE49-F238E27FC236}">
                  <a16:creationId xmlns:a16="http://schemas.microsoft.com/office/drawing/2014/main" id="{A333F9EC-2FE4-77AF-FED4-5D3877A4792F}"/>
                </a:ext>
              </a:extLst>
            </p:cNvPr>
            <p:cNvCxnSpPr/>
            <p:nvPr/>
          </p:nvCxnSpPr>
          <p:spPr bwMode="gray">
            <a:xfrm flipV="1">
              <a:off x="1067775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btfpColumnGapBlocker898493">
              <a:extLst>
                <a:ext uri="{FF2B5EF4-FFF2-40B4-BE49-F238E27FC236}">
                  <a16:creationId xmlns:a16="http://schemas.microsoft.com/office/drawing/2014/main" id="{9501FE2D-5D98-F980-12DA-DBE2538DEBAE}"/>
                </a:ext>
              </a:extLst>
            </p:cNvPr>
            <p:cNvSpPr/>
            <p:nvPr/>
          </p:nvSpPr>
          <p:spPr bwMode="gray">
            <a:xfrm>
              <a:off x="8412616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2" name="btfpColumnIndicator113176">
              <a:extLst>
                <a:ext uri="{FF2B5EF4-FFF2-40B4-BE49-F238E27FC236}">
                  <a16:creationId xmlns:a16="http://schemas.microsoft.com/office/drawing/2014/main" id="{3F13FC1C-5C2C-2835-24A6-99CAA53F09C2}"/>
                </a:ext>
              </a:extLst>
            </p:cNvPr>
            <p:cNvCxnSpPr/>
            <p:nvPr/>
          </p:nvCxnSpPr>
          <p:spPr bwMode="gray">
            <a:xfrm flipV="1">
              <a:off x="101372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btfpColumnIndicator902381">
              <a:extLst>
                <a:ext uri="{FF2B5EF4-FFF2-40B4-BE49-F238E27FC236}">
                  <a16:creationId xmlns:a16="http://schemas.microsoft.com/office/drawing/2014/main" id="{E2475F6C-2EF5-15F7-272B-929737D01B3F}"/>
                </a:ext>
              </a:extLst>
            </p:cNvPr>
            <p:cNvCxnSpPr/>
            <p:nvPr/>
          </p:nvCxnSpPr>
          <p:spPr bwMode="gray">
            <a:xfrm flipV="1">
              <a:off x="895316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btfpColumnGapBlocker302218">
              <a:extLst>
                <a:ext uri="{FF2B5EF4-FFF2-40B4-BE49-F238E27FC236}">
                  <a16:creationId xmlns:a16="http://schemas.microsoft.com/office/drawing/2014/main" id="{E33F4B89-9AB7-4C22-ED2E-62CEEC8525D9}"/>
                </a:ext>
              </a:extLst>
            </p:cNvPr>
            <p:cNvSpPr/>
            <p:nvPr/>
          </p:nvSpPr>
          <p:spPr bwMode="gray">
            <a:xfrm>
              <a:off x="668802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6" name="btfpColumnIndicator416942">
              <a:extLst>
                <a:ext uri="{FF2B5EF4-FFF2-40B4-BE49-F238E27FC236}">
                  <a16:creationId xmlns:a16="http://schemas.microsoft.com/office/drawing/2014/main" id="{D9066D6A-3A9B-7B01-2D78-BD8612F60D8D}"/>
                </a:ext>
              </a:extLst>
            </p:cNvPr>
            <p:cNvCxnSpPr/>
            <p:nvPr/>
          </p:nvCxnSpPr>
          <p:spPr bwMode="gray">
            <a:xfrm flipV="1">
              <a:off x="841261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btfpColumnIndicator263312">
              <a:extLst>
                <a:ext uri="{FF2B5EF4-FFF2-40B4-BE49-F238E27FC236}">
                  <a16:creationId xmlns:a16="http://schemas.microsoft.com/office/drawing/2014/main" id="{2005863B-53F7-1113-2531-6652BCAE6F08}"/>
                </a:ext>
              </a:extLst>
            </p:cNvPr>
            <p:cNvCxnSpPr/>
            <p:nvPr/>
          </p:nvCxnSpPr>
          <p:spPr bwMode="gray">
            <a:xfrm flipV="1">
              <a:off x="722856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" name="btfpColumnGapBlocker690142">
              <a:extLst>
                <a:ext uri="{FF2B5EF4-FFF2-40B4-BE49-F238E27FC236}">
                  <a16:creationId xmlns:a16="http://schemas.microsoft.com/office/drawing/2014/main" id="{46F15191-5B66-5DFE-0AC4-1DE93DD38FCC}"/>
                </a:ext>
              </a:extLst>
            </p:cNvPr>
            <p:cNvSpPr/>
            <p:nvPr/>
          </p:nvSpPr>
          <p:spPr bwMode="gray">
            <a:xfrm>
              <a:off x="496343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0" name="btfpColumnIndicator273601">
              <a:extLst>
                <a:ext uri="{FF2B5EF4-FFF2-40B4-BE49-F238E27FC236}">
                  <a16:creationId xmlns:a16="http://schemas.microsoft.com/office/drawing/2014/main" id="{BE3637A3-B010-428B-4509-A57023024744}"/>
                </a:ext>
              </a:extLst>
            </p:cNvPr>
            <p:cNvCxnSpPr/>
            <p:nvPr/>
          </p:nvCxnSpPr>
          <p:spPr bwMode="gray">
            <a:xfrm flipV="1">
              <a:off x="668802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btfpColumnIndicator127225">
              <a:extLst>
                <a:ext uri="{FF2B5EF4-FFF2-40B4-BE49-F238E27FC236}">
                  <a16:creationId xmlns:a16="http://schemas.microsoft.com/office/drawing/2014/main" id="{FE365265-8252-03D4-A839-8ED99D12F298}"/>
                </a:ext>
              </a:extLst>
            </p:cNvPr>
            <p:cNvCxnSpPr/>
            <p:nvPr/>
          </p:nvCxnSpPr>
          <p:spPr bwMode="gray">
            <a:xfrm flipV="1">
              <a:off x="550397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6" name="btfpColumnGapBlocker941317">
              <a:extLst>
                <a:ext uri="{FF2B5EF4-FFF2-40B4-BE49-F238E27FC236}">
                  <a16:creationId xmlns:a16="http://schemas.microsoft.com/office/drawing/2014/main" id="{C9A19738-E644-B906-F32C-31B6B7C4F219}"/>
                </a:ext>
              </a:extLst>
            </p:cNvPr>
            <p:cNvSpPr/>
            <p:nvPr/>
          </p:nvSpPr>
          <p:spPr bwMode="gray">
            <a:xfrm>
              <a:off x="3238840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4" name="btfpColumnIndicator337424">
              <a:extLst>
                <a:ext uri="{FF2B5EF4-FFF2-40B4-BE49-F238E27FC236}">
                  <a16:creationId xmlns:a16="http://schemas.microsoft.com/office/drawing/2014/main" id="{E71CCD98-8855-4C10-BDAB-812829BE227F}"/>
                </a:ext>
              </a:extLst>
            </p:cNvPr>
            <p:cNvCxnSpPr/>
            <p:nvPr/>
          </p:nvCxnSpPr>
          <p:spPr bwMode="gray">
            <a:xfrm flipV="1">
              <a:off x="496343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btfpColumnIndicator746976">
              <a:extLst>
                <a:ext uri="{FF2B5EF4-FFF2-40B4-BE49-F238E27FC236}">
                  <a16:creationId xmlns:a16="http://schemas.microsoft.com/office/drawing/2014/main" id="{BDF69F57-0627-B489-22A4-8E890293C8F5}"/>
                </a:ext>
              </a:extLst>
            </p:cNvPr>
            <p:cNvCxnSpPr/>
            <p:nvPr/>
          </p:nvCxnSpPr>
          <p:spPr bwMode="gray">
            <a:xfrm flipV="1">
              <a:off x="377938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btfpColumnGapBlocker270104">
              <a:extLst>
                <a:ext uri="{FF2B5EF4-FFF2-40B4-BE49-F238E27FC236}">
                  <a16:creationId xmlns:a16="http://schemas.microsoft.com/office/drawing/2014/main" id="{2F6D6CA9-F5D7-E335-21C0-815D7DEDBD4C}"/>
                </a:ext>
              </a:extLst>
            </p:cNvPr>
            <p:cNvSpPr/>
            <p:nvPr/>
          </p:nvSpPr>
          <p:spPr bwMode="gray">
            <a:xfrm>
              <a:off x="151424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7" name="btfpColumnIndicator699166">
              <a:extLst>
                <a:ext uri="{FF2B5EF4-FFF2-40B4-BE49-F238E27FC236}">
                  <a16:creationId xmlns:a16="http://schemas.microsoft.com/office/drawing/2014/main" id="{B2EDFDA6-52E4-D4F6-2EDD-76D76DFAD359}"/>
                </a:ext>
              </a:extLst>
            </p:cNvPr>
            <p:cNvCxnSpPr/>
            <p:nvPr/>
          </p:nvCxnSpPr>
          <p:spPr bwMode="gray">
            <a:xfrm flipV="1">
              <a:off x="323884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btfpColumnIndicator261129">
              <a:extLst>
                <a:ext uri="{FF2B5EF4-FFF2-40B4-BE49-F238E27FC236}">
                  <a16:creationId xmlns:a16="http://schemas.microsoft.com/office/drawing/2014/main" id="{EC6BD36D-EB9B-D297-0028-FF48A78F2842}"/>
                </a:ext>
              </a:extLst>
            </p:cNvPr>
            <p:cNvCxnSpPr/>
            <p:nvPr/>
          </p:nvCxnSpPr>
          <p:spPr bwMode="gray">
            <a:xfrm flipV="1">
              <a:off x="20547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btfpColumnGapBlocker157596">
              <a:extLst>
                <a:ext uri="{FF2B5EF4-FFF2-40B4-BE49-F238E27FC236}">
                  <a16:creationId xmlns:a16="http://schemas.microsoft.com/office/drawing/2014/main" id="{5AB36F93-9AF4-05B4-6C4F-6E44BCEA141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1" name="btfpColumnIndicator368344">
              <a:extLst>
                <a:ext uri="{FF2B5EF4-FFF2-40B4-BE49-F238E27FC236}">
                  <a16:creationId xmlns:a16="http://schemas.microsoft.com/office/drawing/2014/main" id="{7ABF8572-3345-329C-9ACE-25BCCC3178A5}"/>
                </a:ext>
              </a:extLst>
            </p:cNvPr>
            <p:cNvCxnSpPr/>
            <p:nvPr/>
          </p:nvCxnSpPr>
          <p:spPr bwMode="gray">
            <a:xfrm flipV="1">
              <a:off x="151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btfpColumnIndicator412472">
              <a:extLst>
                <a:ext uri="{FF2B5EF4-FFF2-40B4-BE49-F238E27FC236}">
                  <a16:creationId xmlns:a16="http://schemas.microsoft.com/office/drawing/2014/main" id="{B599E5BF-1242-604C-6A64-1B87A54856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btfpTable77820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43352241"/>
              </p:ext>
            </p:extLst>
          </p:nvPr>
        </p:nvGraphicFramePr>
        <p:xfrm>
          <a:off x="329346" y="1368444"/>
          <a:ext cx="11532453" cy="4973803"/>
        </p:xfrm>
        <a:graphic>
          <a:graphicData uri="http://schemas.openxmlformats.org/drawingml/2006/table">
            <a:tbl>
              <a:tblPr firstRow="1"/>
              <a:tblGrid>
                <a:gridCol w="720088">
                  <a:extLst>
                    <a:ext uri="{9D8B030D-6E8A-4147-A177-3AD203B41FA5}">
                      <a16:colId xmlns:a16="http://schemas.microsoft.com/office/drawing/2014/main" val="1279724942"/>
                    </a:ext>
                  </a:extLst>
                </a:gridCol>
                <a:gridCol w="1829046">
                  <a:extLst>
                    <a:ext uri="{9D8B030D-6E8A-4147-A177-3AD203B41FA5}">
                      <a16:colId xmlns:a16="http://schemas.microsoft.com/office/drawing/2014/main" val="603584068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1293777585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2233416411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2511479523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2893175405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1611113832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1331596605"/>
                    </a:ext>
                  </a:extLst>
                </a:gridCol>
                <a:gridCol w="5137805">
                  <a:extLst>
                    <a:ext uri="{9D8B030D-6E8A-4147-A177-3AD203B41FA5}">
                      <a16:colId xmlns:a16="http://schemas.microsoft.com/office/drawing/2014/main" val="1252257869"/>
                    </a:ext>
                  </a:extLst>
                </a:gridCol>
              </a:tblGrid>
              <a:tr h="18475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  <a:r>
                        <a:rPr lang="en-GB" sz="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er </a:t>
                      </a: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er </a:t>
                      </a: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er </a:t>
                      </a: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er </a:t>
                      </a: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er </a:t>
                      </a: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anation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095945"/>
                  </a:ext>
                </a:extLst>
              </a:tr>
              <a:tr h="302329">
                <a:tc rowSpan="3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E</a:t>
                      </a:r>
                    </a:p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50" b="0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ff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Listing Ads (leading to Amaz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7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For brand-name search on Google, all the brands except Peer 1 and Peer 5 have PLA (Google Shopping Ads) that links to the product page on Amazon. </a:t>
                      </a:r>
                      <a:endParaRPr lang="en-GB" sz="7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209866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 media campaigns (Amazon co-branded)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, Peer 2, and Peer 4 have ads as a co-branding with Amazon on Facebook &amp; Instagram in the last 12 months</a:t>
                      </a:r>
                      <a:endParaRPr lang="en-GB" sz="7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737120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gle</a:t>
                      </a:r>
                      <a:r>
                        <a:rPr lang="en-GB" sz="75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arch result leading to Amazon page of brand</a:t>
                      </a:r>
                      <a:endParaRPr lang="en-GB" sz="75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7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brand-name search on Google, all brands, except Peer 5, have a search result (either organic or paid) in top 10 that leads to their listings page on Amazon.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36385"/>
                  </a:ext>
                </a:extLst>
              </a:tr>
              <a:tr h="302329">
                <a:tc rowSpan="2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E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50" b="0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n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Hub/St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ll brands have a dedicated store on Amazon. It helps a brand showcase all its hero products and highlight promotions, benefits, etc.</a:t>
                      </a:r>
                      <a:endParaRPr lang="en-GB" sz="700" b="0" noProof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598935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14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lay and video ads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7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d on a sample of 5 high-volume keywords, Target has no media ads, while Peer 2 leads with brand display banners. Display and video ads capture immediate attention; help drive awareness &amp; sales.</a:t>
                      </a:r>
                      <a:endParaRPr lang="en-GB" sz="7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863095"/>
                  </a:ext>
                </a:extLst>
              </a:tr>
              <a:tr h="302329">
                <a:tc rowSpan="4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D 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n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nsored listings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dirty="0">
                          <a:latin typeface="+mn-lt"/>
                        </a:rPr>
                        <a:t>Target and Peer 5 have no sponsored SKU on any of the industry keywords </a:t>
                      </a:r>
                      <a:r>
                        <a:rPr lang="en-US" sz="700" dirty="0" err="1">
                          <a:latin typeface="+mn-lt"/>
                        </a:rPr>
                        <a:t>analysed</a:t>
                      </a:r>
                      <a:r>
                        <a:rPr lang="en-US" sz="700" dirty="0">
                          <a:latin typeface="+mn-lt"/>
                        </a:rPr>
                        <a:t>. Peer 2 and Peer 1 have ~5 sponsored listings each on 5 keywords </a:t>
                      </a:r>
                      <a:r>
                        <a:rPr lang="en-US" sz="700" dirty="0" err="1">
                          <a:latin typeface="+mn-lt"/>
                        </a:rPr>
                        <a:t>analysed</a:t>
                      </a:r>
                      <a:r>
                        <a:rPr lang="en-US" sz="700" dirty="0">
                          <a:latin typeface="+mn-lt"/>
                        </a:rPr>
                        <a:t>.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76148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kern="120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earance in featured brands / brand fil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d on a sample of 5 high-volume keywords, Target makes an appearance in the list of brand filter 100% of the times, similar to Peer 2</a:t>
                      </a:r>
                      <a:endParaRPr lang="en-GB" sz="700" dirty="0">
                        <a:latin typeface="+mn-lt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808622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listings &amp; Amazon badges (overall pick/ best seller)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arget leads with ~40 listings (cumulative) on top 5 industry keywords analyzed, while Peer 2 follows next with ~30. Target is strong on “hair dryer” and “compact hair dryer” keywords (10 or more listings); its product appear as an 'overall pick' in 4 of the 5 keywords analyzed</a:t>
                      </a:r>
                      <a:endParaRPr lang="en-GB" sz="700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076909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Appearance in top-20 spot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dirty="0">
                          <a:latin typeface="+mn-lt"/>
                        </a:rPr>
                        <a:t>Target has a presence in top results (first 4 rows) for 100% of the sample 5 industry keywords followed by Peer 2 at 80%; limited presence in top results for the other four peers</a:t>
                      </a:r>
                      <a:endParaRPr lang="en-GB" sz="700" dirty="0">
                        <a:latin typeface="+mn-lt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371359"/>
                  </a:ext>
                </a:extLst>
              </a:tr>
              <a:tr h="302329">
                <a:tc rowSpan="6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UY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n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title &amp; description</a:t>
                      </a:r>
                      <a:r>
                        <a:rPr lang="en-GB" sz="750" b="1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’s hero SKUs have good product titles (using high-volume SEO keywords) and detailed product description points</a:t>
                      </a:r>
                      <a:endParaRPr lang="en-GB" sz="700" kern="1200" baseline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030641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images and videos</a:t>
                      </a:r>
                      <a:r>
                        <a:rPr lang="en-GB" sz="750" b="1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1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Good use of multiple high-quality images and videos by Peer 4 and Peer 1; limited use of videos by Target</a:t>
                      </a:r>
                      <a:endParaRPr lang="en-GB" sz="7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537980"/>
                  </a:ext>
                </a:extLst>
              </a:tr>
              <a:tr h="302329">
                <a:tc vMerge="1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i="0" kern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4000" marR="144000" anchor="ctr">
                    <a:lnL>
                      <a:noFill/>
                    </a:lnL>
                    <a:lnR>
                      <a:noFill/>
                    </a:lnR>
                    <a:lnB w="9525" cmpd="sng">
                      <a:solidFill>
                        <a:srgbClr val="B4B4B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475A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ce range distrib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 the results page for a brand, Peer 4 and Peer 5 have the widest price ranges available (&gt;$300); Target has a narrower SKUs range of ~$200</a:t>
                      </a:r>
                      <a:endParaRPr lang="en-GB" sz="7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0727927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cribe &amp; Save optio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>
                          <a:latin typeface="+mn-lt"/>
                        </a:rPr>
                        <a:t>~60% of the listings of Peer 3 have the option to “subscribe &amp; save” – helpful for retaining customers and building brand loyalty; for Target, only 5% of the listings come with this o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992560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 availability</a:t>
                      </a:r>
                      <a:endParaRPr lang="en-GB" sz="750" b="1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dirty="0">
                          <a:latin typeface="+mn-lt"/>
                        </a:rPr>
                        <a:t>Almost 100% of Target's SKU listings have no low stock or out of stock issues, similar to Peer 3</a:t>
                      </a:r>
                      <a:endParaRPr lang="en-GB" sz="700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430472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ngs &amp; Reviews</a:t>
                      </a:r>
                      <a:r>
                        <a:rPr lang="en-GB" sz="750" b="1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1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1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dirty="0">
                          <a:latin typeface="+mn-lt"/>
                          <a:cs typeface="Arial" panose="020B0604020202020204" pitchFamily="34" charset="0"/>
                        </a:rPr>
                        <a:t>Target and Peer 2 have strong customer advocacy with 4.4 overall average rating across their top 3 Hero SKUs, while Peer 1 leads with a 4.6 average rating</a:t>
                      </a:r>
                      <a:endParaRPr lang="en-GB" sz="7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060702"/>
                  </a:ext>
                </a:extLst>
              </a:tr>
            </a:tbl>
          </a:graphicData>
        </a:graphic>
      </p:graphicFrame>
      <p:sp>
        <p:nvSpPr>
          <p:cNvPr id="4" name="btfpLayoutConfig" hidden="1"/>
          <p:cNvSpPr txBox="1"/>
          <p:nvPr/>
        </p:nvSpPr>
        <p:spPr>
          <a:xfrm>
            <a:off x="12700" y="12700"/>
            <a:ext cx="8890000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168598270932522 columns_1_132168596824407661 35_0_132168596962513003 95_1_132168598152427144 11_1_132333747912432425 2_1_132340497957483601 3_1_132370564923967568 7_1_132369712644680626 12_1_132346367343270022 6_1_132369712448544121 </a:t>
            </a:r>
          </a:p>
        </p:txBody>
      </p:sp>
      <p:sp>
        <p:nvSpPr>
          <p:cNvPr id="72" name="Title 1"/>
          <p:cNvSpPr>
            <a:spLocks noGrp="1"/>
          </p:cNvSpPr>
          <p:nvPr>
            <p:ph type="title"/>
          </p:nvPr>
        </p:nvSpPr>
        <p:spPr/>
        <p:txBody>
          <a:bodyPr vert="horz" anchor="b"/>
          <a:lstStyle/>
          <a:p>
            <a:r>
              <a:rPr lang="en-GB" dirty="0"/>
              <a:t>Target strong on organic brand discoverability but has scope to invest in sponsored / display ads and to add product videos to its popular SKUs</a:t>
            </a:r>
          </a:p>
        </p:txBody>
      </p:sp>
      <p:sp>
        <p:nvSpPr>
          <p:cNvPr id="3" name="btfpNotesBox659290"/>
          <p:cNvSpPr txBox="1"/>
          <p:nvPr>
            <p:custDataLst>
              <p:tags r:id="rId4"/>
            </p:custDataLst>
          </p:nvPr>
        </p:nvSpPr>
        <p:spPr bwMode="gray">
          <a:xfrm>
            <a:off x="325438" y="6377360"/>
            <a:ext cx="11531600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700">
                <a:solidFill>
                  <a:srgbClr val="000000"/>
                </a:solidFill>
              </a:rPr>
              <a:t>Note: 1) Product-level metrics evaluated for top 3 ‘hero SKUs’ of brands, in terms of their best-selling rank on Amazon; Hair accessories like scrunchies, hair clips etc. excluded from the analysis</a:t>
            </a:r>
            <a:br>
              <a:rPr lang="en-GB" sz="700">
                <a:solidFill>
                  <a:srgbClr val="000000"/>
                </a:solidFill>
              </a:rPr>
            </a:br>
            <a:r>
              <a:rPr lang="en-GB" sz="700">
                <a:solidFill>
                  <a:srgbClr val="000000"/>
                </a:solidFill>
              </a:rPr>
              <a:t>Source: Amazon.com (ZIP code of NYC), Meta Ads Librar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FFC6184-884A-A7ED-FEA8-1C1E20F66B67}"/>
              </a:ext>
            </a:extLst>
          </p:cNvPr>
          <p:cNvGrpSpPr/>
          <p:nvPr/>
        </p:nvGrpSpPr>
        <p:grpSpPr>
          <a:xfrm>
            <a:off x="8128100" y="1233736"/>
            <a:ext cx="3724378" cy="343482"/>
            <a:chOff x="7942385" y="941669"/>
            <a:chExt cx="3724378" cy="343482"/>
          </a:xfrm>
        </p:grpSpPr>
        <p:sp>
          <p:nvSpPr>
            <p:cNvPr id="48" name="Rectangle 47"/>
            <p:cNvSpPr/>
            <p:nvPr>
              <p:custDataLst>
                <p:tags r:id="rId7"/>
              </p:custDataLst>
            </p:nvPr>
          </p:nvSpPr>
          <p:spPr bwMode="gray">
            <a:xfrm>
              <a:off x="7942385" y="1008099"/>
              <a:ext cx="3724378" cy="27705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pic>
          <p:nvPicPr>
            <p:cNvPr id="49" name="btfpPhotoGeneric207447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2"/>
            <a:srcRect/>
            <a:stretch>
              <a:fillRect/>
            </a:stretch>
          </p:blipFill>
          <p:spPr>
            <a:xfrm>
              <a:off x="9522835" y="1074913"/>
              <a:ext cx="194969" cy="196844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748382" y="1065246"/>
              <a:ext cx="213687" cy="215742"/>
            </a:xfrm>
            <a:prstGeom prst="rect">
              <a:avLst/>
            </a:prstGeom>
          </p:spPr>
        </p:pic>
        <p:sp>
          <p:nvSpPr>
            <p:cNvPr id="52" name="Rectangle 51"/>
            <p:cNvSpPr/>
            <p:nvPr/>
          </p:nvSpPr>
          <p:spPr bwMode="gray">
            <a:xfrm>
              <a:off x="8267855" y="1077256"/>
              <a:ext cx="417490" cy="19628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Strong</a:t>
              </a:r>
            </a:p>
          </p:txBody>
        </p:sp>
        <p:sp>
          <p:nvSpPr>
            <p:cNvPr id="53" name="Rectangle 52"/>
            <p:cNvSpPr/>
            <p:nvPr/>
          </p:nvSpPr>
          <p:spPr bwMode="gray">
            <a:xfrm>
              <a:off x="8983288" y="1077256"/>
              <a:ext cx="572787" cy="19628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Average</a:t>
              </a: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738494" y="1077254"/>
              <a:ext cx="400089" cy="19628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Weak</a:t>
              </a:r>
            </a:p>
          </p:txBody>
        </p:sp>
        <p:sp>
          <p:nvSpPr>
            <p:cNvPr id="57" name="Rectangle 56"/>
            <p:cNvSpPr/>
            <p:nvPr/>
          </p:nvSpPr>
          <p:spPr bwMode="gray">
            <a:xfrm>
              <a:off x="10334627" y="1085555"/>
              <a:ext cx="1014431" cy="17752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Found</a:t>
              </a:r>
            </a:p>
          </p:txBody>
        </p:sp>
        <p:sp>
          <p:nvSpPr>
            <p:cNvPr id="6" name="btfpHBCheckCross390753"/>
            <p:cNvSpPr/>
            <p:nvPr>
              <p:custDataLst>
                <p:tags r:id="rId9"/>
              </p:custDataLst>
            </p:nvPr>
          </p:nvSpPr>
          <p:spPr bwMode="gray">
            <a:xfrm>
              <a:off x="10870850" y="1068557"/>
              <a:ext cx="203200" cy="203200"/>
            </a:xfrm>
            <a:prstGeom prst="rect">
              <a:avLst/>
            </a:prstGeom>
            <a:blipFill>
              <a:blip r:embed="rId16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HBCheckCross626086"/>
            <p:cNvSpPr/>
            <p:nvPr>
              <p:custDataLst>
                <p:tags r:id="rId10"/>
              </p:custDataLst>
            </p:nvPr>
          </p:nvSpPr>
          <p:spPr bwMode="gray">
            <a:xfrm>
              <a:off x="10137455" y="1069274"/>
              <a:ext cx="203200" cy="203200"/>
            </a:xfrm>
            <a:prstGeom prst="rect">
              <a:avLst/>
            </a:prstGeom>
            <a:blipFill>
              <a:blip r:embed="rId15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11065401" y="1070810"/>
              <a:ext cx="590029" cy="17752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Not Found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05C7326F-152F-4C95-8E43-A286A22BDD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8056470" y="1072819"/>
              <a:ext cx="203200" cy="205154"/>
            </a:xfrm>
            <a:prstGeom prst="rect">
              <a:avLst/>
            </a:prstGeom>
          </p:spPr>
        </p:pic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B0F8CAD1-FE96-4925-A1B6-34475D80F22C}"/>
                </a:ext>
              </a:extLst>
            </p:cNvPr>
            <p:cNvSpPr/>
            <p:nvPr/>
          </p:nvSpPr>
          <p:spPr bwMode="gray">
            <a:xfrm>
              <a:off x="8186870" y="941669"/>
              <a:ext cx="1427643" cy="7860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900" b="1" i="1">
                  <a:solidFill>
                    <a:srgbClr val="000000"/>
                  </a:solidFill>
                </a:rPr>
                <a:t>Key: </a:t>
              </a:r>
              <a:r>
                <a:rPr lang="en-GB" sz="900" i="1">
                  <a:solidFill>
                    <a:srgbClr val="000000"/>
                  </a:solidFill>
                </a:rPr>
                <a:t>Performance scale</a:t>
              </a:r>
              <a:endParaRPr lang="en-GB" sz="900" b="1" i="1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btfpStatusSticker335210">
            <a:extLst>
              <a:ext uri="{FF2B5EF4-FFF2-40B4-BE49-F238E27FC236}">
                <a16:creationId xmlns:a16="http://schemas.microsoft.com/office/drawing/2014/main" id="{DBC9420C-ACE8-B89F-82C6-4780A1F5631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2866898" y="955344"/>
            <a:chExt cx="1759136" cy="235611"/>
          </a:xfrm>
        </p:grpSpPr>
        <p:sp>
          <p:nvSpPr>
            <p:cNvPr id="20" name="btfpStatusStickerText335210">
              <a:extLst>
                <a:ext uri="{FF2B5EF4-FFF2-40B4-BE49-F238E27FC236}">
                  <a16:creationId xmlns:a16="http://schemas.microsoft.com/office/drawing/2014/main" id="{AA962BB2-7AEE-8E26-2906-ED9046E169EB}"/>
                </a:ext>
              </a:extLst>
            </p:cNvPr>
            <p:cNvSpPr txBox="1"/>
            <p:nvPr/>
          </p:nvSpPr>
          <p:spPr bwMode="gray">
            <a:xfrm>
              <a:off x="2866898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1" name="btfpStatusStickerLine335210">
              <a:extLst>
                <a:ext uri="{FF2B5EF4-FFF2-40B4-BE49-F238E27FC236}">
                  <a16:creationId xmlns:a16="http://schemas.microsoft.com/office/drawing/2014/main" id="{836F11F1-BF48-5862-F86B-65EEC531C092}"/>
                </a:ext>
              </a:extLst>
            </p:cNvPr>
            <p:cNvCxnSpPr/>
            <p:nvPr/>
          </p:nvCxnSpPr>
          <p:spPr bwMode="gray">
            <a:xfrm rot="720000">
              <a:off x="2866898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2">
            <a:extLst>
              <a:ext uri="{FF2B5EF4-FFF2-40B4-BE49-F238E27FC236}">
                <a16:creationId xmlns:a16="http://schemas.microsoft.com/office/drawing/2014/main" id="{5C360FB4-F9AD-9E79-3A25-007A3AA7F0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090" r="33603" b="-7444"/>
          <a:stretch/>
        </p:blipFill>
        <p:spPr bwMode="auto">
          <a:xfrm>
            <a:off x="9301123" y="949475"/>
            <a:ext cx="722922" cy="25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0705764-8738-17B4-79C7-16593D3E0029}"/>
              </a:ext>
            </a:extLst>
          </p:cNvPr>
          <p:cNvSpPr/>
          <p:nvPr/>
        </p:nvSpPr>
        <p:spPr bwMode="gray">
          <a:xfrm>
            <a:off x="2877262" y="1238608"/>
            <a:ext cx="648389" cy="5093330"/>
          </a:xfrm>
          <a:prstGeom prst="rect">
            <a:avLst/>
          </a:prstGeom>
          <a:noFill/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47" name="btfpRunningAgenda2Level111416">
            <a:extLst>
              <a:ext uri="{FF2B5EF4-FFF2-40B4-BE49-F238E27FC236}">
                <a16:creationId xmlns:a16="http://schemas.microsoft.com/office/drawing/2014/main" id="{4D151FBE-2BC5-E273-0316-7E4B2B684EA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7767057" cy="257442"/>
            <a:chOff x="-1" y="876300"/>
            <a:chExt cx="7767057" cy="257442"/>
          </a:xfrm>
        </p:grpSpPr>
        <p:sp>
          <p:nvSpPr>
            <p:cNvPr id="44" name="btfpRunningAgenda2LevelBarLeft111416">
              <a:extLst>
                <a:ext uri="{FF2B5EF4-FFF2-40B4-BE49-F238E27FC236}">
                  <a16:creationId xmlns:a16="http://schemas.microsoft.com/office/drawing/2014/main" id="{4B0ABAF5-E34E-D0A6-172C-0AD49776D706}"/>
                </a:ext>
              </a:extLst>
            </p:cNvPr>
            <p:cNvSpPr/>
            <p:nvPr/>
          </p:nvSpPr>
          <p:spPr bwMode="gray">
            <a:xfrm>
              <a:off x="-1" y="876300"/>
              <a:ext cx="2427167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051790 w 1051790"/>
                <a:gd name="connsiteY0" fmla="*/ 0 h 257442"/>
                <a:gd name="connsiteX1" fmla="*/ 888065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0 w 1051790"/>
                <a:gd name="connsiteY0" fmla="*/ 0 h 257442"/>
                <a:gd name="connsiteX1" fmla="*/ 997068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220107 w 1220107"/>
                <a:gd name="connsiteY0" fmla="*/ 0 h 257442"/>
                <a:gd name="connsiteX1" fmla="*/ 997069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1 w 1220107"/>
                <a:gd name="connsiteY2" fmla="*/ 257442 h 257442"/>
                <a:gd name="connsiteX3" fmla="*/ 0 w 1220107"/>
                <a:gd name="connsiteY3" fmla="*/ 0 h 257442"/>
                <a:gd name="connsiteX0" fmla="*/ 1398039 w 1398039"/>
                <a:gd name="connsiteY0" fmla="*/ 0 h 257442"/>
                <a:gd name="connsiteX1" fmla="*/ 1165386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83986 w 1583986"/>
                <a:gd name="connsiteY0" fmla="*/ 0 h 257442"/>
                <a:gd name="connsiteX1" fmla="*/ 1343317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6 w 1583986"/>
                <a:gd name="connsiteY0" fmla="*/ 0 h 257442"/>
                <a:gd name="connsiteX1" fmla="*/ 1529265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769936 w 1769936"/>
                <a:gd name="connsiteY0" fmla="*/ 0 h 257442"/>
                <a:gd name="connsiteX1" fmla="*/ 1529266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0 w 1769936"/>
                <a:gd name="connsiteY3" fmla="*/ 0 h 257442"/>
                <a:gd name="connsiteX0" fmla="*/ 1930235 w 1930235"/>
                <a:gd name="connsiteY0" fmla="*/ 0 h 257442"/>
                <a:gd name="connsiteX1" fmla="*/ 17152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2098551 w 2098551"/>
                <a:gd name="connsiteY0" fmla="*/ 0 h 257442"/>
                <a:gd name="connsiteX1" fmla="*/ 1875514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266866 w 2266866"/>
                <a:gd name="connsiteY0" fmla="*/ 0 h 257442"/>
                <a:gd name="connsiteX1" fmla="*/ 2043830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6 w 2266866"/>
                <a:gd name="connsiteY0" fmla="*/ 0 h 257442"/>
                <a:gd name="connsiteX1" fmla="*/ 2212144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427167 w 2427167"/>
                <a:gd name="connsiteY0" fmla="*/ 0 h 257442"/>
                <a:gd name="connsiteX1" fmla="*/ 2212145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6 w 2427166"/>
                <a:gd name="connsiteY0" fmla="*/ 0 h 257442"/>
                <a:gd name="connsiteX1" fmla="*/ 2372445 w 2427166"/>
                <a:gd name="connsiteY1" fmla="*/ 257442 h 257442"/>
                <a:gd name="connsiteX2" fmla="*/ 0 w 2427166"/>
                <a:gd name="connsiteY2" fmla="*/ 257442 h 257442"/>
                <a:gd name="connsiteX3" fmla="*/ 0 w 2427166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1 w 2427167"/>
                <a:gd name="connsiteY2" fmla="*/ 257442 h 257442"/>
                <a:gd name="connsiteX3" fmla="*/ 0 w 24271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7167" h="257442">
                  <a:moveTo>
                    <a:pt x="2427167" y="0"/>
                  </a:moveTo>
                  <a:lnTo>
                    <a:pt x="237244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111416">
              <a:extLst>
                <a:ext uri="{FF2B5EF4-FFF2-40B4-BE49-F238E27FC236}">
                  <a16:creationId xmlns:a16="http://schemas.microsoft.com/office/drawing/2014/main" id="{CED0D8DF-9213-8DBA-A987-B845CC3DC49F}"/>
                </a:ext>
              </a:extLst>
            </p:cNvPr>
            <p:cNvSpPr txBox="1"/>
            <p:nvPr/>
          </p:nvSpPr>
          <p:spPr bwMode="gray">
            <a:xfrm>
              <a:off x="0" y="876300"/>
              <a:ext cx="237244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-commerce</a:t>
              </a:r>
            </a:p>
          </p:txBody>
        </p:sp>
        <p:sp>
          <p:nvSpPr>
            <p:cNvPr id="46" name="btfpRunningAgenda2LevelBarRight111416">
              <a:extLst>
                <a:ext uri="{FF2B5EF4-FFF2-40B4-BE49-F238E27FC236}">
                  <a16:creationId xmlns:a16="http://schemas.microsoft.com/office/drawing/2014/main" id="{0D8F346D-476C-1C92-93F7-15DC11ABD92D}"/>
                </a:ext>
              </a:extLst>
            </p:cNvPr>
            <p:cNvSpPr/>
            <p:nvPr/>
          </p:nvSpPr>
          <p:spPr bwMode="gray">
            <a:xfrm>
              <a:off x="2292324" y="876300"/>
              <a:ext cx="547473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1 w 2140230"/>
                <a:gd name="connsiteY3" fmla="*/ 0 h 257442"/>
                <a:gd name="connsiteX0" fmla="*/ 2383886 w 2383886"/>
                <a:gd name="connsiteY0" fmla="*/ 0 h 257442"/>
                <a:gd name="connsiteX1" fmla="*/ 2085508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561819 w 2561819"/>
                <a:gd name="connsiteY0" fmla="*/ 0 h 257442"/>
                <a:gd name="connsiteX1" fmla="*/ 2329165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898450 w 2898450"/>
                <a:gd name="connsiteY0" fmla="*/ 0 h 257442"/>
                <a:gd name="connsiteX1" fmla="*/ 2675413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1 w 2898450"/>
                <a:gd name="connsiteY3" fmla="*/ 0 h 257442"/>
                <a:gd name="connsiteX0" fmla="*/ 3066765 w 3066765"/>
                <a:gd name="connsiteY0" fmla="*/ 0 h 257442"/>
                <a:gd name="connsiteX1" fmla="*/ 2843728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227065 w 3227065"/>
                <a:gd name="connsiteY0" fmla="*/ 0 h 257442"/>
                <a:gd name="connsiteX1" fmla="*/ 30120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387366 w 3387366"/>
                <a:gd name="connsiteY0" fmla="*/ 0 h 257442"/>
                <a:gd name="connsiteX1" fmla="*/ 31723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6 w 3387366"/>
                <a:gd name="connsiteY0" fmla="*/ 0 h 257442"/>
                <a:gd name="connsiteX1" fmla="*/ 33326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586587 w 3586587"/>
                <a:gd name="connsiteY0" fmla="*/ 0 h 257442"/>
                <a:gd name="connsiteX1" fmla="*/ 3332645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7 w 3586587"/>
                <a:gd name="connsiteY0" fmla="*/ 0 h 257442"/>
                <a:gd name="connsiteX1" fmla="*/ 3531866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1 w 3586586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0 w 3586586"/>
                <a:gd name="connsiteY3" fmla="*/ 0 h 257442"/>
                <a:gd name="connsiteX0" fmla="*/ 3865508 w 3865508"/>
                <a:gd name="connsiteY0" fmla="*/ 0 h 257442"/>
                <a:gd name="connsiteX1" fmla="*/ 3531865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8 w 3865508"/>
                <a:gd name="connsiteY0" fmla="*/ 0 h 257442"/>
                <a:gd name="connsiteX1" fmla="*/ 3810787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1 w 3865509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2 w 3865509"/>
                <a:gd name="connsiteY3" fmla="*/ 0 h 257442"/>
                <a:gd name="connsiteX0" fmla="*/ 4025810 w 4025810"/>
                <a:gd name="connsiteY0" fmla="*/ 0 h 257442"/>
                <a:gd name="connsiteX1" fmla="*/ 38107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1 w 4025810"/>
                <a:gd name="connsiteY3" fmla="*/ 0 h 257442"/>
                <a:gd name="connsiteX0" fmla="*/ 4279084 w 4279084"/>
                <a:gd name="connsiteY0" fmla="*/ 0 h 257442"/>
                <a:gd name="connsiteX1" fmla="*/ 3971088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465032 w 4465032"/>
                <a:gd name="connsiteY0" fmla="*/ 0 h 257442"/>
                <a:gd name="connsiteX1" fmla="*/ 4224363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718306 w 4718306"/>
                <a:gd name="connsiteY0" fmla="*/ 0 h 257442"/>
                <a:gd name="connsiteX1" fmla="*/ 4410311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886622 w 4886622"/>
                <a:gd name="connsiteY0" fmla="*/ 0 h 257442"/>
                <a:gd name="connsiteX1" fmla="*/ 4663585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5128483 w 5128483"/>
                <a:gd name="connsiteY0" fmla="*/ 0 h 257442"/>
                <a:gd name="connsiteX1" fmla="*/ 4831901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306416 w 5306416"/>
                <a:gd name="connsiteY0" fmla="*/ 0 h 257442"/>
                <a:gd name="connsiteX1" fmla="*/ 5073762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6 w 5306416"/>
                <a:gd name="connsiteY0" fmla="*/ 0 h 257442"/>
                <a:gd name="connsiteX1" fmla="*/ 5251694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474733 w 5474733"/>
                <a:gd name="connsiteY0" fmla="*/ 0 h 257442"/>
                <a:gd name="connsiteX1" fmla="*/ 5251695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3 w 5474733"/>
                <a:gd name="connsiteY0" fmla="*/ 0 h 257442"/>
                <a:gd name="connsiteX1" fmla="*/ 5420012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1 w 5474732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0 w 547473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732" h="257442">
                  <a:moveTo>
                    <a:pt x="5474732" y="0"/>
                  </a:moveTo>
                  <a:lnTo>
                    <a:pt x="542001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111416">
              <a:extLst>
                <a:ext uri="{FF2B5EF4-FFF2-40B4-BE49-F238E27FC236}">
                  <a16:creationId xmlns:a16="http://schemas.microsoft.com/office/drawing/2014/main" id="{52F99826-6AC0-0E13-9649-34713015B28A}"/>
                </a:ext>
              </a:extLst>
            </p:cNvPr>
            <p:cNvSpPr txBox="1"/>
            <p:nvPr/>
          </p:nvSpPr>
          <p:spPr bwMode="gray">
            <a:xfrm>
              <a:off x="2292323" y="876300"/>
              <a:ext cx="54200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journey / optimization</a:t>
              </a:r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0A03ED35-8680-D71C-B846-1C38B9EF87C4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9093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862DF280-9426-DFD2-644E-B708F24108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07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606" imgH="608" progId="TCLayout.ActiveDocument.1">
                  <p:embed/>
                </p:oleObj>
              </mc:Choice>
              <mc:Fallback>
                <p:oleObj name="think-cell Slide" r:id="rId11" imgW="606" imgH="608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2DF280-9426-DFD2-644E-B708F2410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btfpColumnIndicatorGroup2">
            <a:extLst>
              <a:ext uri="{FF2B5EF4-FFF2-40B4-BE49-F238E27FC236}">
                <a16:creationId xmlns:a16="http://schemas.microsoft.com/office/drawing/2014/main" id="{BC74FEFB-51B7-3571-B434-C3016919BCB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3" name="btfpColumnGapBlocker416913">
              <a:extLst>
                <a:ext uri="{FF2B5EF4-FFF2-40B4-BE49-F238E27FC236}">
                  <a16:creationId xmlns:a16="http://schemas.microsoft.com/office/drawing/2014/main" id="{51B84F5B-DB86-9521-9524-D42F9EEB478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1" name="btfpColumnGapBlocker492744">
              <a:extLst>
                <a:ext uri="{FF2B5EF4-FFF2-40B4-BE49-F238E27FC236}">
                  <a16:creationId xmlns:a16="http://schemas.microsoft.com/office/drawing/2014/main" id="{133A3E23-385E-EDF7-38E4-6CFB1CECED89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9" name="btfpColumnIndicator450277">
              <a:extLst>
                <a:ext uri="{FF2B5EF4-FFF2-40B4-BE49-F238E27FC236}">
                  <a16:creationId xmlns:a16="http://schemas.microsoft.com/office/drawing/2014/main" id="{0A824758-95DA-78C0-0FC5-E70A8FEDBD8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855818">
              <a:extLst>
                <a:ext uri="{FF2B5EF4-FFF2-40B4-BE49-F238E27FC236}">
                  <a16:creationId xmlns:a16="http://schemas.microsoft.com/office/drawing/2014/main" id="{45E8E4A2-46B8-C0B8-29B2-8FAE8153A9C4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btfpColumnGapBlocker283928">
              <a:extLst>
                <a:ext uri="{FF2B5EF4-FFF2-40B4-BE49-F238E27FC236}">
                  <a16:creationId xmlns:a16="http://schemas.microsoft.com/office/drawing/2014/main" id="{97FC1B0E-ACCE-523D-775A-F510FF71B3B9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3" name="btfpColumnIndicator126203">
              <a:extLst>
                <a:ext uri="{FF2B5EF4-FFF2-40B4-BE49-F238E27FC236}">
                  <a16:creationId xmlns:a16="http://schemas.microsoft.com/office/drawing/2014/main" id="{06D723BE-E6AA-584C-4F8A-8FF055CDF992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btfpColumnIndicator229359">
              <a:extLst>
                <a:ext uri="{FF2B5EF4-FFF2-40B4-BE49-F238E27FC236}">
                  <a16:creationId xmlns:a16="http://schemas.microsoft.com/office/drawing/2014/main" id="{28D756A7-83AA-38D8-00B9-ECC9719B478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btfpColumnGapBlocker718410">
              <a:extLst>
                <a:ext uri="{FF2B5EF4-FFF2-40B4-BE49-F238E27FC236}">
                  <a16:creationId xmlns:a16="http://schemas.microsoft.com/office/drawing/2014/main" id="{31160B55-7AFF-4373-FA45-A941262E6D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7" name="btfpColumnIndicator276173">
              <a:extLst>
                <a:ext uri="{FF2B5EF4-FFF2-40B4-BE49-F238E27FC236}">
                  <a16:creationId xmlns:a16="http://schemas.microsoft.com/office/drawing/2014/main" id="{ED1A967B-8B36-2B79-D115-28DAE2526AEF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btfpColumnIndicator602446">
              <a:extLst>
                <a:ext uri="{FF2B5EF4-FFF2-40B4-BE49-F238E27FC236}">
                  <a16:creationId xmlns:a16="http://schemas.microsoft.com/office/drawing/2014/main" id="{D2ADF8DF-09EF-3E39-9DF7-D38870A2586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btfpColumnIndicatorGroup1">
            <a:extLst>
              <a:ext uri="{FF2B5EF4-FFF2-40B4-BE49-F238E27FC236}">
                <a16:creationId xmlns:a16="http://schemas.microsoft.com/office/drawing/2014/main" id="{9828655A-079A-BBED-E58B-925F47D6BA2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2" name="btfpColumnGapBlocker677119">
              <a:extLst>
                <a:ext uri="{FF2B5EF4-FFF2-40B4-BE49-F238E27FC236}">
                  <a16:creationId xmlns:a16="http://schemas.microsoft.com/office/drawing/2014/main" id="{490DA528-DAC8-9719-E48E-3A6478EE63C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0" name="btfpColumnGapBlocker178082">
              <a:extLst>
                <a:ext uri="{FF2B5EF4-FFF2-40B4-BE49-F238E27FC236}">
                  <a16:creationId xmlns:a16="http://schemas.microsoft.com/office/drawing/2014/main" id="{C436ADF6-7CD6-2B22-25AA-35520EB20548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8" name="btfpColumnIndicator789512">
              <a:extLst>
                <a:ext uri="{FF2B5EF4-FFF2-40B4-BE49-F238E27FC236}">
                  <a16:creationId xmlns:a16="http://schemas.microsoft.com/office/drawing/2014/main" id="{4E7D7928-BDD1-C8C9-AA6A-04E3631D815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btfpColumnIndicator984239">
              <a:extLst>
                <a:ext uri="{FF2B5EF4-FFF2-40B4-BE49-F238E27FC236}">
                  <a16:creationId xmlns:a16="http://schemas.microsoft.com/office/drawing/2014/main" id="{B8E028EF-1235-007F-AEFC-F56C561D31C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btfpColumnGapBlocker554052">
              <a:extLst>
                <a:ext uri="{FF2B5EF4-FFF2-40B4-BE49-F238E27FC236}">
                  <a16:creationId xmlns:a16="http://schemas.microsoft.com/office/drawing/2014/main" id="{37FA01D8-DCD4-5D42-D8A4-98E7228ACFF3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2" name="btfpColumnIndicator478318">
              <a:extLst>
                <a:ext uri="{FF2B5EF4-FFF2-40B4-BE49-F238E27FC236}">
                  <a16:creationId xmlns:a16="http://schemas.microsoft.com/office/drawing/2014/main" id="{86D1D11D-EC1F-8190-D22C-7DA30FA1EB21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btfpColumnIndicator108873">
              <a:extLst>
                <a:ext uri="{FF2B5EF4-FFF2-40B4-BE49-F238E27FC236}">
                  <a16:creationId xmlns:a16="http://schemas.microsoft.com/office/drawing/2014/main" id="{E44D7D2D-7C51-5C42-BFCF-58C14A97F14B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btfpColumnGapBlocker532686">
              <a:extLst>
                <a:ext uri="{FF2B5EF4-FFF2-40B4-BE49-F238E27FC236}">
                  <a16:creationId xmlns:a16="http://schemas.microsoft.com/office/drawing/2014/main" id="{9D914648-B81A-88A7-8571-7B8962EAB47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6" name="btfpColumnIndicator148748">
              <a:extLst>
                <a:ext uri="{FF2B5EF4-FFF2-40B4-BE49-F238E27FC236}">
                  <a16:creationId xmlns:a16="http://schemas.microsoft.com/office/drawing/2014/main" id="{1155C760-34F4-0490-E240-8477B2884CC9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btfpColumnIndicator959697">
              <a:extLst>
                <a:ext uri="{FF2B5EF4-FFF2-40B4-BE49-F238E27FC236}">
                  <a16:creationId xmlns:a16="http://schemas.microsoft.com/office/drawing/2014/main" id="{8B08E49F-7178-2092-599D-8404B372FBA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LayoutConfig" hidden="1"/>
          <p:cNvSpPr txBox="1"/>
          <p:nvPr/>
        </p:nvSpPr>
        <p:spPr>
          <a:xfrm>
            <a:off x="12700" y="12700"/>
            <a:ext cx="8890000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168598270932522 columns_1_132168596824407661 35_0_132168596962513003 95_1_132168598152427144 11_1_132333747912432425 2_1_132340497957483601 3_1_132370564923967568 7_1_132369712644680626 12_1_132346367343270022 6_1_132369712448544121 </a:t>
            </a:r>
          </a:p>
        </p:txBody>
      </p:sp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noFill/>
        </p:spPr>
        <p:txBody>
          <a:bodyPr vert="horz" rIns="0" anchor="b"/>
          <a:lstStyle/>
          <a:p>
            <a:r>
              <a:rPr lang="en-US" dirty="0"/>
              <a:t>To better compete w/ Peer 4, Peer 1, Peer 2, Target could add high-quality media and run banner/video ads on popular keywords to generate more awareness / clicks</a:t>
            </a:r>
            <a:endParaRPr lang="en-GB" dirty="0"/>
          </a:p>
        </p:txBody>
      </p:sp>
      <p:grpSp>
        <p:nvGrpSpPr>
          <p:cNvPr id="40" name="btfpColumnHeaderBox316055">
            <a:extLst>
              <a:ext uri="{FF2B5EF4-FFF2-40B4-BE49-F238E27FC236}">
                <a16:creationId xmlns:a16="http://schemas.microsoft.com/office/drawing/2014/main" id="{A8E42115-9DD1-B343-9E9E-502C57203F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378294" y="1270000"/>
            <a:ext cx="3483505" cy="318997"/>
            <a:chOff x="6366272" y="1270000"/>
            <a:chExt cx="5495528" cy="318997"/>
          </a:xfrm>
        </p:grpSpPr>
        <p:sp>
          <p:nvSpPr>
            <p:cNvPr id="37" name="btfpColumnHeaderBoxText316055">
              <a:extLst>
                <a:ext uri="{FF2B5EF4-FFF2-40B4-BE49-F238E27FC236}">
                  <a16:creationId xmlns:a16="http://schemas.microsoft.com/office/drawing/2014/main" id="{C95A2F1B-F8FB-7896-75FE-AF8B3E5FB584}"/>
                </a:ext>
              </a:extLst>
            </p:cNvPr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SKU title and description</a:t>
              </a:r>
            </a:p>
          </p:txBody>
        </p:sp>
        <p:cxnSp>
          <p:nvCxnSpPr>
            <p:cNvPr id="38" name="btfpColumnHeaderBoxLine316055">
              <a:extLst>
                <a:ext uri="{FF2B5EF4-FFF2-40B4-BE49-F238E27FC236}">
                  <a16:creationId xmlns:a16="http://schemas.microsoft.com/office/drawing/2014/main" id="{0E9FC5F6-C61F-F31E-7DCE-ABB4E14E51A3}"/>
                </a:ext>
              </a:extLst>
            </p:cNvPr>
            <p:cNvCxnSpPr/>
            <p:nvPr/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HeaderBox727880">
            <a:extLst>
              <a:ext uri="{FF2B5EF4-FFF2-40B4-BE49-F238E27FC236}">
                <a16:creationId xmlns:a16="http://schemas.microsoft.com/office/drawing/2014/main" id="{4C4D78FA-87ED-B983-DB7E-3860B936985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270000"/>
            <a:ext cx="3483504" cy="318997"/>
            <a:chOff x="330200" y="1270000"/>
            <a:chExt cx="5495528" cy="318997"/>
          </a:xfrm>
        </p:grpSpPr>
        <p:sp>
          <p:nvSpPr>
            <p:cNvPr id="41" name="btfpColumnHeaderBoxText727880">
              <a:extLst>
                <a:ext uri="{FF2B5EF4-FFF2-40B4-BE49-F238E27FC236}">
                  <a16:creationId xmlns:a16="http://schemas.microsoft.com/office/drawing/2014/main" id="{B0221CB4-4A5D-5E96-600C-7BC6F35E907A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Product </a:t>
              </a:r>
              <a:r>
                <a:rPr lang="en-US" b="1">
                  <a:solidFill>
                    <a:srgbClr val="000000"/>
                  </a:solidFill>
                </a:rPr>
                <a:t>pictures and videos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42" name="btfpColumnHeaderBoxLine727880">
              <a:extLst>
                <a:ext uri="{FF2B5EF4-FFF2-40B4-BE49-F238E27FC236}">
                  <a16:creationId xmlns:a16="http://schemas.microsoft.com/office/drawing/2014/main" id="{14D3B96D-6C98-8D9E-6797-37AD5883EBB6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btfpNotesBox659290">
            <a:extLst>
              <a:ext uri="{FF2B5EF4-FFF2-40B4-BE49-F238E27FC236}">
                <a16:creationId xmlns:a16="http://schemas.microsoft.com/office/drawing/2014/main" id="{A2B22026-19C2-7C27-233C-D9174FFA827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25438" y="6450643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Amazon.com (ZIP code of NYC)</a:t>
            </a:r>
          </a:p>
        </p:txBody>
      </p:sp>
      <p:grpSp>
        <p:nvGrpSpPr>
          <p:cNvPr id="7" name="btfpStatusSticker335210">
            <a:extLst>
              <a:ext uri="{FF2B5EF4-FFF2-40B4-BE49-F238E27FC236}">
                <a16:creationId xmlns:a16="http://schemas.microsoft.com/office/drawing/2014/main" id="{9AA14925-AD72-9F5D-22A3-1B36B9293BD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2866898" y="955344"/>
            <a:chExt cx="1759136" cy="235611"/>
          </a:xfrm>
        </p:grpSpPr>
        <p:sp>
          <p:nvSpPr>
            <p:cNvPr id="16" name="btfpStatusStickerText335210">
              <a:extLst>
                <a:ext uri="{FF2B5EF4-FFF2-40B4-BE49-F238E27FC236}">
                  <a16:creationId xmlns:a16="http://schemas.microsoft.com/office/drawing/2014/main" id="{D40B9F78-8E90-0F34-FF81-6BEC05022651}"/>
                </a:ext>
              </a:extLst>
            </p:cNvPr>
            <p:cNvSpPr txBox="1"/>
            <p:nvPr/>
          </p:nvSpPr>
          <p:spPr bwMode="gray">
            <a:xfrm>
              <a:off x="2866898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7" name="btfpStatusStickerLine335210">
              <a:extLst>
                <a:ext uri="{FF2B5EF4-FFF2-40B4-BE49-F238E27FC236}">
                  <a16:creationId xmlns:a16="http://schemas.microsoft.com/office/drawing/2014/main" id="{C994F830-4D9C-685F-DBD3-4BEE5EA58F74}"/>
                </a:ext>
              </a:extLst>
            </p:cNvPr>
            <p:cNvCxnSpPr/>
            <p:nvPr/>
          </p:nvCxnSpPr>
          <p:spPr bwMode="gray">
            <a:xfrm rot="720000">
              <a:off x="2866898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btfpColumnHeaderBox321783">
            <a:extLst>
              <a:ext uri="{FF2B5EF4-FFF2-40B4-BE49-F238E27FC236}">
                <a16:creationId xmlns:a16="http://schemas.microsoft.com/office/drawing/2014/main" id="{12C32167-ABE9-1BBC-43AB-A3042FDD268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354248" y="1255988"/>
            <a:ext cx="3483505" cy="315913"/>
            <a:chOff x="4354248" y="1255988"/>
            <a:chExt cx="3483505" cy="315913"/>
          </a:xfrm>
        </p:grpSpPr>
        <p:sp>
          <p:nvSpPr>
            <p:cNvPr id="152" name="btfpColumnHeaderBoxText321783">
              <a:extLst>
                <a:ext uri="{FF2B5EF4-FFF2-40B4-BE49-F238E27FC236}">
                  <a16:creationId xmlns:a16="http://schemas.microsoft.com/office/drawing/2014/main" id="{5032650B-9A2B-6A7A-9830-69BC2BA42B6D}"/>
                </a:ext>
              </a:extLst>
            </p:cNvPr>
            <p:cNvSpPr txBox="1"/>
            <p:nvPr/>
          </p:nvSpPr>
          <p:spPr bwMode="gray">
            <a:xfrm>
              <a:off x="4354248" y="1255988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Display &amp; video ads &amp; Brand filter</a:t>
              </a:r>
            </a:p>
          </p:txBody>
        </p:sp>
        <p:cxnSp>
          <p:nvCxnSpPr>
            <p:cNvPr id="153" name="btfpColumnHeaderBoxLine321783">
              <a:extLst>
                <a:ext uri="{FF2B5EF4-FFF2-40B4-BE49-F238E27FC236}">
                  <a16:creationId xmlns:a16="http://schemas.microsoft.com/office/drawing/2014/main" id="{B792F465-B8DE-114D-3465-5AFBD0F55156}"/>
                </a:ext>
              </a:extLst>
            </p:cNvPr>
            <p:cNvCxnSpPr/>
            <p:nvPr/>
          </p:nvCxnSpPr>
          <p:spPr bwMode="gray">
            <a:xfrm>
              <a:off x="4354248" y="1571901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997C3DD-8AF6-A25E-AFF0-AF04A6A72B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090" r="33603" b="-7444"/>
          <a:stretch/>
        </p:blipFill>
        <p:spPr bwMode="auto">
          <a:xfrm>
            <a:off x="9301123" y="949475"/>
            <a:ext cx="722922" cy="25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965B736-A7CB-3539-5984-6A6213E08F2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79676" y="2039830"/>
            <a:ext cx="2107836" cy="14105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1E5AF9D-7687-D0CC-8D63-54CAD4A0274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09694" y="4908840"/>
            <a:ext cx="1347342" cy="15863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D944F34F-8D92-CA51-C420-C63372A4F77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73531" y="4365922"/>
            <a:ext cx="3483505" cy="5251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5" name="btfpCallout937762">
            <a:extLst>
              <a:ext uri="{FF2B5EF4-FFF2-40B4-BE49-F238E27FC236}">
                <a16:creationId xmlns:a16="http://schemas.microsoft.com/office/drawing/2014/main" id="{4FEF0827-F151-2F48-0304-6601831E0A70}"/>
              </a:ext>
            </a:extLst>
          </p:cNvPr>
          <p:cNvSpPr/>
          <p:nvPr/>
        </p:nvSpPr>
        <p:spPr bwMode="gray">
          <a:xfrm>
            <a:off x="8535817" y="5055744"/>
            <a:ext cx="1751648" cy="1324333"/>
          </a:xfrm>
          <a:prstGeom prst="wedgeRectCallout">
            <a:avLst>
              <a:gd name="adj1" fmla="val 28385"/>
              <a:gd name="adj2" fmla="val -63777"/>
            </a:avLst>
          </a:prstGeom>
          <a:solidFill>
            <a:srgbClr val="FFFFFF"/>
          </a:solidFill>
          <a:ln w="19050">
            <a:solidFill>
              <a:srgbClr val="B394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i="1" dirty="0">
                <a:solidFill>
                  <a:srgbClr val="B39446"/>
                </a:solidFill>
              </a:rPr>
              <a:t>Scope for Target to </a:t>
            </a:r>
            <a:r>
              <a:rPr lang="en-US" sz="900" b="1" i="1" dirty="0">
                <a:solidFill>
                  <a:srgbClr val="B39446"/>
                </a:solidFill>
              </a:rPr>
              <a:t>improve conversions </a:t>
            </a:r>
            <a:r>
              <a:rPr lang="en-US" sz="900" i="1" dirty="0">
                <a:solidFill>
                  <a:srgbClr val="B39446"/>
                </a:solidFill>
              </a:rPr>
              <a:t>from its </a:t>
            </a:r>
            <a:r>
              <a:rPr lang="en-US" sz="900" b="1" i="1" dirty="0">
                <a:solidFill>
                  <a:srgbClr val="B39446"/>
                </a:solidFill>
              </a:rPr>
              <a:t>product titles</a:t>
            </a:r>
            <a:r>
              <a:rPr lang="en-US" sz="900" i="1" dirty="0">
                <a:solidFill>
                  <a:srgbClr val="B39446"/>
                </a:solidFill>
              </a:rPr>
              <a:t>, by ensuring details as primary </a:t>
            </a:r>
            <a:r>
              <a:rPr lang="en-US" sz="900" b="1" i="1" dirty="0">
                <a:solidFill>
                  <a:srgbClr val="B39446"/>
                </a:solidFill>
              </a:rPr>
              <a:t>product specifications</a:t>
            </a:r>
            <a:r>
              <a:rPr lang="en-US" sz="900" i="1" dirty="0">
                <a:solidFill>
                  <a:srgbClr val="B39446"/>
                </a:solidFill>
              </a:rPr>
              <a:t>, </a:t>
            </a:r>
            <a:r>
              <a:rPr lang="en-US" sz="900" b="1" i="1" dirty="0">
                <a:solidFill>
                  <a:srgbClr val="B39446"/>
                </a:solidFill>
              </a:rPr>
              <a:t>expected results</a:t>
            </a:r>
            <a:r>
              <a:rPr lang="en-US" sz="900" i="1" dirty="0">
                <a:solidFill>
                  <a:srgbClr val="B39446"/>
                </a:solidFill>
              </a:rPr>
              <a:t>, are always included, as done </a:t>
            </a:r>
            <a:r>
              <a:rPr lang="en-US" sz="900" b="1" i="1" dirty="0">
                <a:solidFill>
                  <a:srgbClr val="B39446"/>
                </a:solidFill>
              </a:rPr>
              <a:t>by peers such as Peer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4BA6DC1-32C3-4242-0BD6-889B830750F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54249" y="1656580"/>
            <a:ext cx="3483504" cy="10735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8F3F75C-6033-FBBB-0EED-C693D7CF90F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354248" y="2777374"/>
            <a:ext cx="3483504" cy="98255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5" name="btfpCallout937762">
            <a:extLst>
              <a:ext uri="{FF2B5EF4-FFF2-40B4-BE49-F238E27FC236}">
                <a16:creationId xmlns:a16="http://schemas.microsoft.com/office/drawing/2014/main" id="{96435EF5-CCC9-CD5E-9070-F72EEB8DB1D4}"/>
              </a:ext>
            </a:extLst>
          </p:cNvPr>
          <p:cNvSpPr/>
          <p:nvPr/>
        </p:nvSpPr>
        <p:spPr bwMode="gray">
          <a:xfrm>
            <a:off x="4354249" y="3840030"/>
            <a:ext cx="3483504" cy="667129"/>
          </a:xfrm>
          <a:prstGeom prst="wedgeRectCallout">
            <a:avLst>
              <a:gd name="adj1" fmla="val 21745"/>
              <a:gd name="adj2" fmla="val -97031"/>
            </a:avLst>
          </a:prstGeom>
          <a:solidFill>
            <a:srgbClr val="FFFFFF"/>
          </a:solidFill>
          <a:ln w="19050">
            <a:solidFill>
              <a:srgbClr val="AB8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 dirty="0">
                <a:solidFill>
                  <a:srgbClr val="AB8933"/>
                </a:solidFill>
              </a:rPr>
              <a:t>Peers like Peer 2 </a:t>
            </a:r>
            <a:r>
              <a:rPr lang="en-US" sz="900" i="1" dirty="0">
                <a:solidFill>
                  <a:srgbClr val="AB8933"/>
                </a:solidFill>
              </a:rPr>
              <a:t>have </a:t>
            </a:r>
            <a:r>
              <a:rPr lang="en-US" sz="900" b="1" i="1" dirty="0">
                <a:solidFill>
                  <a:srgbClr val="AB8933"/>
                </a:solidFill>
              </a:rPr>
              <a:t>brand banners</a:t>
            </a:r>
            <a:r>
              <a:rPr lang="en-US" sz="900" i="1" dirty="0">
                <a:solidFill>
                  <a:srgbClr val="AB8933"/>
                </a:solidFill>
              </a:rPr>
              <a:t> for keywords such as “hair dryer” and “curling iron”;</a:t>
            </a:r>
            <a:r>
              <a:rPr lang="en-US" sz="900" b="1" i="1" dirty="0">
                <a:solidFill>
                  <a:srgbClr val="AB8933"/>
                </a:solidFill>
              </a:rPr>
              <a:t> scope for Target to run video ads and banners</a:t>
            </a:r>
            <a:r>
              <a:rPr lang="en-US" sz="900" i="1" dirty="0">
                <a:solidFill>
                  <a:srgbClr val="AB8933"/>
                </a:solidFill>
              </a:rPr>
              <a:t> which are more appealing to customers and drive higher user engagement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6FDCA43-5538-7972-AA1D-3D492517514C}"/>
              </a:ext>
            </a:extLst>
          </p:cNvPr>
          <p:cNvGrpSpPr/>
          <p:nvPr/>
        </p:nvGrpSpPr>
        <p:grpSpPr>
          <a:xfrm>
            <a:off x="6895075" y="4729331"/>
            <a:ext cx="987566" cy="1626159"/>
            <a:chOff x="4603498" y="4800106"/>
            <a:chExt cx="816170" cy="134393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CEC7D694-7327-5B22-9077-3752D3433482}"/>
                </a:ext>
              </a:extLst>
            </p:cNvPr>
            <p:cNvGrpSpPr/>
            <p:nvPr/>
          </p:nvGrpSpPr>
          <p:grpSpPr>
            <a:xfrm>
              <a:off x="4603498" y="5002584"/>
              <a:ext cx="816170" cy="1141455"/>
              <a:chOff x="4354852" y="4995790"/>
              <a:chExt cx="1086323" cy="1519277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1752E7D1-B832-55C5-1615-2D3CD0D495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354852" y="4995790"/>
                <a:ext cx="1086323" cy="151927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E4C8828-DD61-0465-CF48-80C12BFFE8F5}"/>
                  </a:ext>
                </a:extLst>
              </p:cNvPr>
              <p:cNvSpPr/>
              <p:nvPr/>
            </p:nvSpPr>
            <p:spPr bwMode="gray">
              <a:xfrm>
                <a:off x="4382572" y="5343678"/>
                <a:ext cx="660546" cy="173347"/>
              </a:xfrm>
              <a:prstGeom prst="ellipse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042028E-706E-EE48-E1DA-7733B68DB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634421" y="4800106"/>
              <a:ext cx="688207" cy="204311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6BD2016B-21AE-B12B-7D47-492DDDD1697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551250" y="3323787"/>
            <a:ext cx="1057140" cy="16039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70B3D2ED-57F7-1923-63B1-275DC9216548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b="55035"/>
          <a:stretch/>
        </p:blipFill>
        <p:spPr>
          <a:xfrm>
            <a:off x="2072033" y="4870835"/>
            <a:ext cx="1760443" cy="148185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78E9EBA8-4B8C-8E94-70DC-14708F806559}"/>
              </a:ext>
            </a:extLst>
          </p:cNvPr>
          <p:cNvGrpSpPr/>
          <p:nvPr/>
        </p:nvGrpSpPr>
        <p:grpSpPr>
          <a:xfrm>
            <a:off x="5705862" y="4698879"/>
            <a:ext cx="1076398" cy="1687034"/>
            <a:chOff x="5919073" y="4517433"/>
            <a:chExt cx="978544" cy="153367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A12A908-0A24-527F-0503-337D10D03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919073" y="4517433"/>
              <a:ext cx="978544" cy="18280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405103F-52C6-3DD1-98E9-23B37C0F56B6}"/>
                </a:ext>
              </a:extLst>
            </p:cNvPr>
            <p:cNvGrpSpPr/>
            <p:nvPr/>
          </p:nvGrpSpPr>
          <p:grpSpPr>
            <a:xfrm>
              <a:off x="5923550" y="4720037"/>
              <a:ext cx="815815" cy="1331067"/>
              <a:chOff x="5647302" y="2696913"/>
              <a:chExt cx="897396" cy="1464174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FD7266A-7AE7-424E-1E67-EA2FAD3F07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5647302" y="2696913"/>
                <a:ext cx="897396" cy="1464174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EA90860-E2BF-4A37-5E74-F9EE166DA48E}"/>
                  </a:ext>
                </a:extLst>
              </p:cNvPr>
              <p:cNvSpPr/>
              <p:nvPr/>
            </p:nvSpPr>
            <p:spPr bwMode="gray">
              <a:xfrm>
                <a:off x="5713179" y="3355068"/>
                <a:ext cx="545905" cy="143262"/>
              </a:xfrm>
              <a:prstGeom prst="ellipse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9125E295-21C6-EA88-8A0D-5CFC754A0ADB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385403" y="2215840"/>
            <a:ext cx="1358956" cy="12923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74B234-F24F-2D07-B39A-CA99D805CF5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385403" y="1662237"/>
            <a:ext cx="2030168" cy="5351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3" name="btfpCallout937762">
            <a:extLst>
              <a:ext uri="{FF2B5EF4-FFF2-40B4-BE49-F238E27FC236}">
                <a16:creationId xmlns:a16="http://schemas.microsoft.com/office/drawing/2014/main" id="{0A60EC3D-62A6-FBEE-21DA-CA44B494562F}"/>
              </a:ext>
            </a:extLst>
          </p:cNvPr>
          <p:cNvSpPr/>
          <p:nvPr/>
        </p:nvSpPr>
        <p:spPr bwMode="gray">
          <a:xfrm>
            <a:off x="4354248" y="4795223"/>
            <a:ext cx="1238800" cy="1494374"/>
          </a:xfrm>
          <a:prstGeom prst="wedgeRectCallout">
            <a:avLst>
              <a:gd name="adj1" fmla="val 62142"/>
              <a:gd name="adj2" fmla="val -33566"/>
            </a:avLst>
          </a:prstGeom>
          <a:solidFill>
            <a:srgbClr val="FFFFFF"/>
          </a:solidFill>
          <a:ln w="19050">
            <a:solidFill>
              <a:srgbClr val="1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1000" b="1" i="1" dirty="0">
                <a:solidFill>
                  <a:srgbClr val="104C3E"/>
                </a:solidFill>
              </a:rPr>
              <a:t>Target appears in brand filter for top keywords</a:t>
            </a:r>
            <a:r>
              <a:rPr lang="en-US" sz="1000" i="1" dirty="0">
                <a:solidFill>
                  <a:srgbClr val="104C3E"/>
                </a:solidFill>
              </a:rPr>
              <a:t>- ‘hair dryer’, ‘curling iron’, ‘hair straightener’, ‘hair curling wand’ and ‘compact hair dryer’</a:t>
            </a:r>
          </a:p>
        </p:txBody>
      </p:sp>
      <p:sp>
        <p:nvSpPr>
          <p:cNvPr id="53" name="btfpCallout937762">
            <a:extLst>
              <a:ext uri="{FF2B5EF4-FFF2-40B4-BE49-F238E27FC236}">
                <a16:creationId xmlns:a16="http://schemas.microsoft.com/office/drawing/2014/main" id="{8BB96ED1-EA43-C86B-5B3A-53A1279D1A55}"/>
              </a:ext>
            </a:extLst>
          </p:cNvPr>
          <p:cNvSpPr/>
          <p:nvPr/>
        </p:nvSpPr>
        <p:spPr bwMode="gray">
          <a:xfrm>
            <a:off x="8827964" y="3508639"/>
            <a:ext cx="3029072" cy="778639"/>
          </a:xfrm>
          <a:prstGeom prst="wedgeRectCallout">
            <a:avLst>
              <a:gd name="adj1" fmla="val -14052"/>
              <a:gd name="adj2" fmla="val -63076"/>
            </a:avLst>
          </a:prstGeom>
          <a:solidFill>
            <a:srgbClr val="FFFFFF"/>
          </a:solidFill>
          <a:ln w="19050">
            <a:solidFill>
              <a:srgbClr val="1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 dirty="0">
                <a:solidFill>
                  <a:srgbClr val="104C3E"/>
                </a:solidFill>
              </a:rPr>
              <a:t>Target</a:t>
            </a:r>
            <a:r>
              <a:rPr lang="en-US" sz="900" i="1" dirty="0">
                <a:solidFill>
                  <a:srgbClr val="104C3E"/>
                </a:solidFill>
              </a:rPr>
              <a:t> gains an edge in brand-discovery &amp; provides ample info to consumers by </a:t>
            </a:r>
            <a:r>
              <a:rPr lang="en-US" sz="900" b="1" i="1" dirty="0">
                <a:solidFill>
                  <a:srgbClr val="104C3E"/>
                </a:solidFill>
              </a:rPr>
              <a:t>having detailed description </a:t>
            </a:r>
            <a:r>
              <a:rPr lang="en-US" sz="900" i="1" dirty="0">
                <a:solidFill>
                  <a:srgbClr val="104C3E"/>
                </a:solidFill>
              </a:rPr>
              <a:t>for its products, covering specifications, functionality &amp; features, making the purchase an informed deci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EDD7E88-9894-6CEC-2918-EE864D9CD760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95139" y="1713140"/>
            <a:ext cx="1313975" cy="12840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4093D3B-F287-069D-711B-CE0444B63F9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94658" y="4811053"/>
            <a:ext cx="1479894" cy="154164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3" name="btfpCallout937762">
            <a:extLst>
              <a:ext uri="{FF2B5EF4-FFF2-40B4-BE49-F238E27FC236}">
                <a16:creationId xmlns:a16="http://schemas.microsoft.com/office/drawing/2014/main" id="{1C6B3974-3B2A-5459-0AE2-0D8A40925FAA}"/>
              </a:ext>
            </a:extLst>
          </p:cNvPr>
          <p:cNvSpPr/>
          <p:nvPr/>
        </p:nvSpPr>
        <p:spPr bwMode="gray">
          <a:xfrm>
            <a:off x="519205" y="4140610"/>
            <a:ext cx="1760443" cy="620139"/>
          </a:xfrm>
          <a:prstGeom prst="wedgeRectCallout">
            <a:avLst>
              <a:gd name="adj1" fmla="val -24791"/>
              <a:gd name="adj2" fmla="val 77936"/>
            </a:avLst>
          </a:prstGeom>
          <a:solidFill>
            <a:srgbClr val="FFFF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 dirty="0">
                <a:solidFill>
                  <a:schemeClr val="accent5">
                    <a:lumMod val="50000"/>
                  </a:schemeClr>
                </a:solidFill>
              </a:rPr>
              <a:t>Peer 4 </a:t>
            </a:r>
            <a:r>
              <a:rPr lang="en-US" sz="900" i="1" dirty="0">
                <a:solidFill>
                  <a:schemeClr val="accent5">
                    <a:lumMod val="50000"/>
                  </a:schemeClr>
                </a:solidFill>
              </a:rPr>
              <a:t>shows </a:t>
            </a:r>
            <a:r>
              <a:rPr lang="en-US" sz="900" b="1" i="1" dirty="0">
                <a:solidFill>
                  <a:schemeClr val="accent5">
                    <a:lumMod val="50000"/>
                  </a:schemeClr>
                </a:solidFill>
              </a:rPr>
              <a:t>high quality </a:t>
            </a:r>
            <a:r>
              <a:rPr lang="en-US" sz="900" i="1" dirty="0">
                <a:solidFill>
                  <a:schemeClr val="accent5">
                    <a:lumMod val="50000"/>
                  </a:schemeClr>
                </a:solidFill>
              </a:rPr>
              <a:t>product images explaining / showcasing the products’ </a:t>
            </a:r>
            <a:r>
              <a:rPr lang="en-US" sz="900" b="1" i="1" dirty="0">
                <a:solidFill>
                  <a:schemeClr val="accent5">
                    <a:lumMod val="50000"/>
                  </a:schemeClr>
                </a:solidFill>
              </a:rPr>
              <a:t>use</a:t>
            </a:r>
          </a:p>
        </p:txBody>
      </p:sp>
      <p:grpSp>
        <p:nvGrpSpPr>
          <p:cNvPr id="56" name="btfpRunningAgenda2Level111416">
            <a:extLst>
              <a:ext uri="{FF2B5EF4-FFF2-40B4-BE49-F238E27FC236}">
                <a16:creationId xmlns:a16="http://schemas.microsoft.com/office/drawing/2014/main" id="{DB422EA6-64A8-0E18-5802-FD048EA252E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-1" y="944429"/>
            <a:ext cx="7767057" cy="257442"/>
            <a:chOff x="-1" y="876300"/>
            <a:chExt cx="7767057" cy="257442"/>
          </a:xfrm>
        </p:grpSpPr>
        <p:sp>
          <p:nvSpPr>
            <p:cNvPr id="58" name="btfpRunningAgenda2LevelBarLeft111416">
              <a:extLst>
                <a:ext uri="{FF2B5EF4-FFF2-40B4-BE49-F238E27FC236}">
                  <a16:creationId xmlns:a16="http://schemas.microsoft.com/office/drawing/2014/main" id="{9C216498-8500-A6DA-4049-4ED729AC03EA}"/>
                </a:ext>
              </a:extLst>
            </p:cNvPr>
            <p:cNvSpPr/>
            <p:nvPr/>
          </p:nvSpPr>
          <p:spPr bwMode="gray">
            <a:xfrm>
              <a:off x="-1" y="876300"/>
              <a:ext cx="2427167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051790 w 1051790"/>
                <a:gd name="connsiteY0" fmla="*/ 0 h 257442"/>
                <a:gd name="connsiteX1" fmla="*/ 888065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0 w 1051790"/>
                <a:gd name="connsiteY0" fmla="*/ 0 h 257442"/>
                <a:gd name="connsiteX1" fmla="*/ 997068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220107 w 1220107"/>
                <a:gd name="connsiteY0" fmla="*/ 0 h 257442"/>
                <a:gd name="connsiteX1" fmla="*/ 997069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1 w 1220107"/>
                <a:gd name="connsiteY2" fmla="*/ 257442 h 257442"/>
                <a:gd name="connsiteX3" fmla="*/ 0 w 1220107"/>
                <a:gd name="connsiteY3" fmla="*/ 0 h 257442"/>
                <a:gd name="connsiteX0" fmla="*/ 1398039 w 1398039"/>
                <a:gd name="connsiteY0" fmla="*/ 0 h 257442"/>
                <a:gd name="connsiteX1" fmla="*/ 1165386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83986 w 1583986"/>
                <a:gd name="connsiteY0" fmla="*/ 0 h 257442"/>
                <a:gd name="connsiteX1" fmla="*/ 1343317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6 w 1583986"/>
                <a:gd name="connsiteY0" fmla="*/ 0 h 257442"/>
                <a:gd name="connsiteX1" fmla="*/ 1529265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769936 w 1769936"/>
                <a:gd name="connsiteY0" fmla="*/ 0 h 257442"/>
                <a:gd name="connsiteX1" fmla="*/ 1529266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0 w 1769936"/>
                <a:gd name="connsiteY3" fmla="*/ 0 h 257442"/>
                <a:gd name="connsiteX0" fmla="*/ 1930235 w 1930235"/>
                <a:gd name="connsiteY0" fmla="*/ 0 h 257442"/>
                <a:gd name="connsiteX1" fmla="*/ 17152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2098551 w 2098551"/>
                <a:gd name="connsiteY0" fmla="*/ 0 h 257442"/>
                <a:gd name="connsiteX1" fmla="*/ 1875514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266866 w 2266866"/>
                <a:gd name="connsiteY0" fmla="*/ 0 h 257442"/>
                <a:gd name="connsiteX1" fmla="*/ 2043830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6 w 2266866"/>
                <a:gd name="connsiteY0" fmla="*/ 0 h 257442"/>
                <a:gd name="connsiteX1" fmla="*/ 2212144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427167 w 2427167"/>
                <a:gd name="connsiteY0" fmla="*/ 0 h 257442"/>
                <a:gd name="connsiteX1" fmla="*/ 2212145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6 w 2427166"/>
                <a:gd name="connsiteY0" fmla="*/ 0 h 257442"/>
                <a:gd name="connsiteX1" fmla="*/ 2372445 w 2427166"/>
                <a:gd name="connsiteY1" fmla="*/ 257442 h 257442"/>
                <a:gd name="connsiteX2" fmla="*/ 0 w 2427166"/>
                <a:gd name="connsiteY2" fmla="*/ 257442 h 257442"/>
                <a:gd name="connsiteX3" fmla="*/ 0 w 2427166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1 w 2427167"/>
                <a:gd name="connsiteY2" fmla="*/ 257442 h 257442"/>
                <a:gd name="connsiteX3" fmla="*/ 0 w 24271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7167" h="257442">
                  <a:moveTo>
                    <a:pt x="2427167" y="0"/>
                  </a:moveTo>
                  <a:lnTo>
                    <a:pt x="237244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0" name="btfpRunningAgenda2LevelTextLeft111416">
              <a:extLst>
                <a:ext uri="{FF2B5EF4-FFF2-40B4-BE49-F238E27FC236}">
                  <a16:creationId xmlns:a16="http://schemas.microsoft.com/office/drawing/2014/main" id="{E2233A10-EB0C-B26D-30AA-3F621698685E}"/>
                </a:ext>
              </a:extLst>
            </p:cNvPr>
            <p:cNvSpPr txBox="1"/>
            <p:nvPr/>
          </p:nvSpPr>
          <p:spPr bwMode="gray">
            <a:xfrm>
              <a:off x="0" y="876300"/>
              <a:ext cx="237244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-commerce</a:t>
              </a:r>
            </a:p>
          </p:txBody>
        </p:sp>
        <p:sp>
          <p:nvSpPr>
            <p:cNvPr id="67" name="btfpRunningAgenda2LevelBarRight111416">
              <a:extLst>
                <a:ext uri="{FF2B5EF4-FFF2-40B4-BE49-F238E27FC236}">
                  <a16:creationId xmlns:a16="http://schemas.microsoft.com/office/drawing/2014/main" id="{CD844597-9708-64AB-D405-32DA319656C2}"/>
                </a:ext>
              </a:extLst>
            </p:cNvPr>
            <p:cNvSpPr/>
            <p:nvPr/>
          </p:nvSpPr>
          <p:spPr bwMode="gray">
            <a:xfrm>
              <a:off x="2292324" y="876300"/>
              <a:ext cx="547473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1 w 2140230"/>
                <a:gd name="connsiteY3" fmla="*/ 0 h 257442"/>
                <a:gd name="connsiteX0" fmla="*/ 2383886 w 2383886"/>
                <a:gd name="connsiteY0" fmla="*/ 0 h 257442"/>
                <a:gd name="connsiteX1" fmla="*/ 2085508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561819 w 2561819"/>
                <a:gd name="connsiteY0" fmla="*/ 0 h 257442"/>
                <a:gd name="connsiteX1" fmla="*/ 2329165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898450 w 2898450"/>
                <a:gd name="connsiteY0" fmla="*/ 0 h 257442"/>
                <a:gd name="connsiteX1" fmla="*/ 2675413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1 w 2898450"/>
                <a:gd name="connsiteY3" fmla="*/ 0 h 257442"/>
                <a:gd name="connsiteX0" fmla="*/ 3066765 w 3066765"/>
                <a:gd name="connsiteY0" fmla="*/ 0 h 257442"/>
                <a:gd name="connsiteX1" fmla="*/ 2843728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227065 w 3227065"/>
                <a:gd name="connsiteY0" fmla="*/ 0 h 257442"/>
                <a:gd name="connsiteX1" fmla="*/ 30120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387366 w 3387366"/>
                <a:gd name="connsiteY0" fmla="*/ 0 h 257442"/>
                <a:gd name="connsiteX1" fmla="*/ 31723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6 w 3387366"/>
                <a:gd name="connsiteY0" fmla="*/ 0 h 257442"/>
                <a:gd name="connsiteX1" fmla="*/ 33326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586587 w 3586587"/>
                <a:gd name="connsiteY0" fmla="*/ 0 h 257442"/>
                <a:gd name="connsiteX1" fmla="*/ 3332645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7 w 3586587"/>
                <a:gd name="connsiteY0" fmla="*/ 0 h 257442"/>
                <a:gd name="connsiteX1" fmla="*/ 3531866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1 w 3586586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0 w 3586586"/>
                <a:gd name="connsiteY3" fmla="*/ 0 h 257442"/>
                <a:gd name="connsiteX0" fmla="*/ 3865508 w 3865508"/>
                <a:gd name="connsiteY0" fmla="*/ 0 h 257442"/>
                <a:gd name="connsiteX1" fmla="*/ 3531865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8 w 3865508"/>
                <a:gd name="connsiteY0" fmla="*/ 0 h 257442"/>
                <a:gd name="connsiteX1" fmla="*/ 3810787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1 w 3865509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2 w 3865509"/>
                <a:gd name="connsiteY3" fmla="*/ 0 h 257442"/>
                <a:gd name="connsiteX0" fmla="*/ 4025810 w 4025810"/>
                <a:gd name="connsiteY0" fmla="*/ 0 h 257442"/>
                <a:gd name="connsiteX1" fmla="*/ 38107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1 w 4025810"/>
                <a:gd name="connsiteY3" fmla="*/ 0 h 257442"/>
                <a:gd name="connsiteX0" fmla="*/ 4279084 w 4279084"/>
                <a:gd name="connsiteY0" fmla="*/ 0 h 257442"/>
                <a:gd name="connsiteX1" fmla="*/ 3971088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465032 w 4465032"/>
                <a:gd name="connsiteY0" fmla="*/ 0 h 257442"/>
                <a:gd name="connsiteX1" fmla="*/ 4224363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718306 w 4718306"/>
                <a:gd name="connsiteY0" fmla="*/ 0 h 257442"/>
                <a:gd name="connsiteX1" fmla="*/ 4410311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886622 w 4886622"/>
                <a:gd name="connsiteY0" fmla="*/ 0 h 257442"/>
                <a:gd name="connsiteX1" fmla="*/ 4663585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5128483 w 5128483"/>
                <a:gd name="connsiteY0" fmla="*/ 0 h 257442"/>
                <a:gd name="connsiteX1" fmla="*/ 4831901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306416 w 5306416"/>
                <a:gd name="connsiteY0" fmla="*/ 0 h 257442"/>
                <a:gd name="connsiteX1" fmla="*/ 5073762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6 w 5306416"/>
                <a:gd name="connsiteY0" fmla="*/ 0 h 257442"/>
                <a:gd name="connsiteX1" fmla="*/ 5251694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474733 w 5474733"/>
                <a:gd name="connsiteY0" fmla="*/ 0 h 257442"/>
                <a:gd name="connsiteX1" fmla="*/ 5251695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3 w 5474733"/>
                <a:gd name="connsiteY0" fmla="*/ 0 h 257442"/>
                <a:gd name="connsiteX1" fmla="*/ 5420012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1 w 5474732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0 w 547473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732" h="257442">
                  <a:moveTo>
                    <a:pt x="5474732" y="0"/>
                  </a:moveTo>
                  <a:lnTo>
                    <a:pt x="542001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9" name="btfpRunningAgenda2LevelTextRight111416">
              <a:extLst>
                <a:ext uri="{FF2B5EF4-FFF2-40B4-BE49-F238E27FC236}">
                  <a16:creationId xmlns:a16="http://schemas.microsoft.com/office/drawing/2014/main" id="{CEC5AD53-E26B-CE27-BBB0-B4BDE1FE2133}"/>
                </a:ext>
              </a:extLst>
            </p:cNvPr>
            <p:cNvSpPr txBox="1"/>
            <p:nvPr/>
          </p:nvSpPr>
          <p:spPr bwMode="gray">
            <a:xfrm>
              <a:off x="2292323" y="876300"/>
              <a:ext cx="54200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journey / optimization</a:t>
              </a: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BA95F3E1-7626-1335-FB4E-457531CACF59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1C29A64-802E-398E-D591-13FE4394EBF3}"/>
              </a:ext>
            </a:extLst>
          </p:cNvPr>
          <p:cNvPicPr>
            <a:picLocks noChangeAspect="1"/>
          </p:cNvPicPr>
          <p:nvPr/>
        </p:nvPicPr>
        <p:blipFill>
          <a:blip r:embed="rId30"/>
          <a:srcRect b="38252"/>
          <a:stretch/>
        </p:blipFill>
        <p:spPr>
          <a:xfrm>
            <a:off x="494658" y="3026494"/>
            <a:ext cx="1310733" cy="10345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83" name="btfpCallout937762">
            <a:extLst>
              <a:ext uri="{FF2B5EF4-FFF2-40B4-BE49-F238E27FC236}">
                <a16:creationId xmlns:a16="http://schemas.microsoft.com/office/drawing/2014/main" id="{A64C1EBB-8EDF-79FF-A343-5DEC27F74964}"/>
              </a:ext>
            </a:extLst>
          </p:cNvPr>
          <p:cNvSpPr/>
          <p:nvPr/>
        </p:nvSpPr>
        <p:spPr bwMode="gray">
          <a:xfrm>
            <a:off x="1896642" y="1738787"/>
            <a:ext cx="1825026" cy="813752"/>
          </a:xfrm>
          <a:prstGeom prst="wedgeRectCallout">
            <a:avLst>
              <a:gd name="adj1" fmla="val -57828"/>
              <a:gd name="adj2" fmla="val 18985"/>
            </a:avLst>
          </a:prstGeom>
          <a:solidFill>
            <a:srgbClr val="FFFF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BaByliss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 provides detailed information about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heat settings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and multiple videos showing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steps and tips to use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products</a:t>
            </a:r>
            <a:endParaRPr lang="en-US" sz="900" b="1" i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2" name="btfpCallout937762">
            <a:extLst>
              <a:ext uri="{FF2B5EF4-FFF2-40B4-BE49-F238E27FC236}">
                <a16:creationId xmlns:a16="http://schemas.microsoft.com/office/drawing/2014/main" id="{536ABCE1-81CD-8A3A-A2D3-2CF554A36252}"/>
              </a:ext>
            </a:extLst>
          </p:cNvPr>
          <p:cNvSpPr/>
          <p:nvPr/>
        </p:nvSpPr>
        <p:spPr bwMode="gray">
          <a:xfrm>
            <a:off x="1896642" y="1738787"/>
            <a:ext cx="1825026" cy="813752"/>
          </a:xfrm>
          <a:prstGeom prst="wedgeRectCallout">
            <a:avLst>
              <a:gd name="adj1" fmla="val -55218"/>
              <a:gd name="adj2" fmla="val 143058"/>
            </a:avLst>
          </a:prstGeom>
          <a:solidFill>
            <a:srgbClr val="FFFF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 dirty="0">
                <a:solidFill>
                  <a:schemeClr val="accent5">
                    <a:lumMod val="50000"/>
                  </a:schemeClr>
                </a:solidFill>
              </a:rPr>
              <a:t>Peer 1</a:t>
            </a:r>
            <a:r>
              <a:rPr lang="en-US" sz="900" i="1" dirty="0">
                <a:solidFill>
                  <a:schemeClr val="accent5">
                    <a:lumMod val="50000"/>
                  </a:schemeClr>
                </a:solidFill>
              </a:rPr>
              <a:t> provides detailed information about </a:t>
            </a:r>
            <a:r>
              <a:rPr lang="en-US" sz="900" b="1" i="1" dirty="0">
                <a:solidFill>
                  <a:schemeClr val="accent5">
                    <a:lumMod val="50000"/>
                  </a:schemeClr>
                </a:solidFill>
              </a:rPr>
              <a:t>heat settings </a:t>
            </a:r>
            <a:r>
              <a:rPr lang="en-US" sz="900" i="1" dirty="0">
                <a:solidFill>
                  <a:schemeClr val="accent5">
                    <a:lumMod val="50000"/>
                  </a:schemeClr>
                </a:solidFill>
              </a:rPr>
              <a:t>and multiple videos showing </a:t>
            </a:r>
            <a:r>
              <a:rPr lang="en-US" sz="900" b="1" i="1" dirty="0">
                <a:solidFill>
                  <a:schemeClr val="accent5">
                    <a:lumMod val="50000"/>
                  </a:schemeClr>
                </a:solidFill>
              </a:rPr>
              <a:t>steps and tips to use </a:t>
            </a:r>
            <a:r>
              <a:rPr lang="en-US" sz="900" i="1" dirty="0">
                <a:solidFill>
                  <a:schemeClr val="accent5">
                    <a:lumMod val="50000"/>
                  </a:schemeClr>
                </a:solidFill>
              </a:rPr>
              <a:t>products</a:t>
            </a:r>
            <a:endParaRPr lang="en-US" sz="900" b="1" i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" name="btfpCallout937762">
            <a:extLst>
              <a:ext uri="{FF2B5EF4-FFF2-40B4-BE49-F238E27FC236}">
                <a16:creationId xmlns:a16="http://schemas.microsoft.com/office/drawing/2014/main" id="{8D33BB88-57C7-C1AC-0A44-45B9D517CE1A}"/>
              </a:ext>
            </a:extLst>
          </p:cNvPr>
          <p:cNvSpPr/>
          <p:nvPr/>
        </p:nvSpPr>
        <p:spPr bwMode="gray">
          <a:xfrm>
            <a:off x="2091588" y="2602841"/>
            <a:ext cx="1740888" cy="699984"/>
          </a:xfrm>
          <a:prstGeom prst="wedgeRectCallout">
            <a:avLst>
              <a:gd name="adj1" fmla="val -11000"/>
              <a:gd name="adj2" fmla="val 72984"/>
            </a:avLst>
          </a:prstGeom>
          <a:solidFill>
            <a:srgbClr val="FFFFFF"/>
          </a:solidFill>
          <a:ln w="19050">
            <a:solidFill>
              <a:srgbClr val="B394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 dirty="0">
                <a:solidFill>
                  <a:srgbClr val="B39446"/>
                </a:solidFill>
              </a:rPr>
              <a:t>Target</a:t>
            </a:r>
            <a:r>
              <a:rPr lang="en-US" sz="900" i="1" dirty="0">
                <a:solidFill>
                  <a:srgbClr val="B39446"/>
                </a:solidFill>
              </a:rPr>
              <a:t> can publish </a:t>
            </a:r>
            <a:r>
              <a:rPr lang="en-US" sz="900" b="1" i="1" dirty="0">
                <a:solidFill>
                  <a:srgbClr val="B39446"/>
                </a:solidFill>
              </a:rPr>
              <a:t>more videos</a:t>
            </a:r>
            <a:r>
              <a:rPr lang="en-US" sz="900" i="1" dirty="0">
                <a:solidFill>
                  <a:srgbClr val="B39446"/>
                </a:solidFill>
              </a:rPr>
              <a:t> elaborating tips to use the products, key benefits etc. </a:t>
            </a:r>
            <a:endParaRPr lang="en-US" sz="900" b="1" i="1" dirty="0">
              <a:solidFill>
                <a:srgbClr val="B39446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977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,&quot; ThousandSeparator=&quot;.&quot; NegativeNumberFormat=&quot;1&quot; /&gt;&lt;DateFormat CultureID=&quot;2055&quot; FormatString=&quot;dd.MM.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734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2.14323443556355819339E+00&quot;&gt;&lt;m_msothmcolidx val=&quot;9&quot;/&gt;&lt;/elem&gt;&lt;elem m_fUsage=&quot;1.94850132723344482422E+00&quot;&gt;&lt;m_msothmcolidx val=&quot;12&quot;/&gt;&lt;/elem&gt;&lt;elem m_fUsage=&quot;1.67508093212154163254E+00&quot;&gt;&lt;m_msothmcolidx val=&quot;8&quot;/&gt;&lt;/elem&gt;&lt;elem m_fUsage=&quot;1.55786684656290796980E+00&quot;&gt;&lt;m_msothmcolidx val=&quot;6&quot;/&gt;&lt;/elem&gt;&lt;elem m_fUsage=&quot;8.67900373359931309736E-01&quot;&gt;&lt;m_msothmcolidx val=&quot;5&quot;/&gt;&lt;/elem&gt;&lt;elem m_fUsage=&quot;8.10000000000000053291E-01&quot;&gt;&lt;m_msothmcolidx val=&quot;0&quot;/&gt;&lt;m_rgb r=&quot;E1&quot; g=&quot;DF&quot; b=&quot;DE&quot;/&gt;&lt;/elem&gt;&lt;elem m_fUsage=&quot;4.17436406670997073309E-01&quot;&gt;&lt;m_msothmcolidx val=&quot;16&quot;/&gt;&lt;/elem&gt;&lt;elem m_fUsage=&quot;3.05177315327867904049E-01&quot;&gt;&lt;m_msothmcolidx val=&quot;14&quot;/&gt;&lt;/elem&gt;&lt;elem m_fUsage=&quot;7.17897987691853145531E-02&quot;&gt;&lt;m_msothmcolidx val=&quot;13&quot;/&gt;&lt;/elem&gt;&lt;elem m_fUsage=&quot;6.53916902203826172491E-02&quot;&gt;&lt;m_msothmcolidx val=&quot;7&quot;/&gt;&lt;/elem&gt;&lt;elem m_fUsage=&quot;2.78128389443693807559E-02&quot;&gt;&lt;m_msothmcolidx val=&quot;10&quot;/&gt;&lt;/elem&gt;&lt;elem m_fUsage=&quot;2.25283995449391989674E-02&quot;&gt;&lt;m_msothmcolidx val=&quot;0&quot;/&gt;&lt;m_rgb r=&quot;44&quot; g=&quot;62&quot; b=&quot;79&quot;/&gt;&lt;/elem&gt;&lt;elem m_fUsage=&quot;8.72796356808772273717E-03&quot;&gt;&lt;m_msothmcolidx val=&quot;0&quot;/&gt;&lt;m_rgb r=&quot;7F&quot; g=&quot;8F&quot; b=&quot;9B&quot;/&gt;&lt;/elem&gt;&lt;elem m_fUsage=&quot;7.85516721127895063692E-03&quot;&gt;&lt;m_msothmcolidx val=&quot;0&quot;/&gt;&lt;m_rgb r=&quot;59&quot; g=&quot;74&quot; b=&quot;88&quot;/&gt;&lt;/elem&gt;&lt;/m_vecMRU&gt;&lt;/m_mruColor&gt;&lt;m_eweekdayFirstOfWeek val=&quot;2&quot;/&gt;&lt;m_eweekdayFirstOfWorkweek val=&quot;2&quot;/&gt;&lt;m_eweekdayFirstOfWeekend val=&quot;7&quot;/&gt;&lt;/CPresentation&gt;&lt;/root&gt;"/>
  <p:tag name="MEKKOMRUCOLORS" val="&lt;?xml version=&quot;1.0&quot; encoding=&quot;utf-8&quot;?&gt;&#10;&lt;MRU&gt;&#10;  &lt;CustomColorsMRU&gt;&#10;    &lt;Color aRGB=&quot;FFFFC2C2&quot; Intensity=&quot;1&quot; /&gt;&#10;    &lt;Color aRGB=&quot;FFDBB5CC&quot; Intensity=&quot;1&quot; /&gt;&#10;    &lt;Color aRGB=&quot;FFF2E6ED&quot; Intensity=&quot;1&quot; /&gt;&#10;    &lt;Color aRGB=&quot;FFED6C4E&quot; Intensity=&quot;1&quot; /&gt;&#10;    &lt;Color aRGB=&quot;FFF2F4F0&quot; Intensity=&quot;1&quot; /&gt;&#10;    &lt;Color aRGB=&quot;FFF4EBFD&quot; Intensity=&quot;1&quot; /&gt;&#10;    &lt;Color aRGB=&quot;FFCA8FFF&quot; Intensity=&quot;1&quot; /&gt;&#10;    &lt;Color aRGB=&quot;FFB978F1&quot; Intensity=&quot;1&quot; /&gt;&#10;    &lt;Color aRGB=&quot;FF62D488&quot; Intensity=&quot;1&quot; /&gt;&#10;    &lt;Color aRGB=&quot;FF9B3EEC&quot; Intensity=&quot;1&quot; /&gt;&#10;    &lt;Color aRGB=&quot;FFE2CAF9&quot; Intensity=&quot;1&quot; /&gt;&#10;  &lt;/CustomColorsMRU&gt;&#10;  &lt;ColorsPatternsMRU&gt;&#10;    &lt;Button ID=&quot;menuSeriesColor&quot; Color=&quot;7&quot; /&gt;&#10;    &lt;Button ID=&quot;menuFontColor&quot; aRGB=&quot;FFFFC2C2&quot; Intensity=&quot;1&quot; /&gt;&#10;    &lt;Button ID=&quot;menuSegmentColor&quot; Color=&quot;28&quot; /&gt;&#10;    &lt;Button ID=&quot;menuSeriesPattern&quot; Pattern=&quot;23&quot; /&gt;&#10;  &lt;/ColorsPatternsMRU&gt;&#10;&lt;/MRU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True"/>
  <p:tag name="BTFPLAYOUTANCHORETOP" val="True"/>
  <p:tag name="BTFPLAYOUTANCHOREBOTTOM" val="False"/>
  <p:tag name="BTFPCENTERX" val="50"/>
  <p:tag name="BTFPCENTERY" val="5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BAINBULLET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8D76D43-A7C0-4A5D-BD63-4CAFA46C4DD1}">
  <we:reference id="70ed8778-2a1c-4697-8cf0-5cf67c93b7b6" version="1.1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B83292E0EF4A438E00FF1703D483AC" ma:contentTypeVersion="5" ma:contentTypeDescription="Create a new document." ma:contentTypeScope="" ma:versionID="44831db9c20de6fa86b5bce81f9c2f26">
  <xsd:schema xmlns:xsd="http://www.w3.org/2001/XMLSchema" xmlns:xs="http://www.w3.org/2001/XMLSchema" xmlns:p="http://schemas.microsoft.com/office/2006/metadata/properties" xmlns:ns2="9572a831-237e-4c16-9ec9-537509f1e4d8" targetNamespace="http://schemas.microsoft.com/office/2006/metadata/properties" ma:root="true" ma:fieldsID="f7f95b0ad952c8b2f098cb1e6864d273" ns2:_="">
    <xsd:import namespace="9572a831-237e-4c16-9ec9-537509f1e4d8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72a831-237e-4c16-9ec9-537509f1e4d8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9572a831-237e-4c16-9ec9-537509f1e4d8" xsi:nil="true"/>
  </documentManagement>
</p:properties>
</file>

<file path=customXml/itemProps1.xml><?xml version="1.0" encoding="utf-8"?>
<ds:datastoreItem xmlns:ds="http://schemas.openxmlformats.org/officeDocument/2006/customXml" ds:itemID="{213A4B97-F2FE-4888-BE0E-1EF220CE1CC2}">
  <ds:schemaRefs>
    <ds:schemaRef ds:uri="9572a831-237e-4c16-9ec9-537509f1e4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8FBEEB-5A9D-4B6A-BB9E-EF4DF2846A75}">
  <ds:schemaRefs>
    <ds:schemaRef ds:uri="http://www.w3.org/XML/1998/namespace"/>
    <ds:schemaRef ds:uri="9572a831-237e-4c16-9ec9-537509f1e4d8"/>
    <ds:schemaRef ds:uri="http://schemas.openxmlformats.org/package/2006/metadata/core-properties"/>
    <ds:schemaRef ds:uri="http://purl.org/dc/dcmitype/"/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9</TotalTime>
  <Words>1074</Words>
  <Application>Microsoft Office PowerPoint</Application>
  <PresentationFormat>Widescreen</PresentationFormat>
  <Paragraphs>168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Bain Core</vt:lpstr>
      <vt:lpstr>think-cell Slide</vt:lpstr>
      <vt:lpstr>Digital Deck 3 – E-Commerce</vt:lpstr>
      <vt:lpstr>Target strong on organic brand discoverability but has scope to invest in sponsored / display ads and to add product videos to its popular SKUs</vt:lpstr>
      <vt:lpstr>To better compete w/ Peer 4, Peer 1, Peer 2, Target could add high-quality media and run banner/video ads on popular keywords to generate more awareness / clic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ein, Maximilian</dc:creator>
  <cp:lastModifiedBy>BCN</cp:lastModifiedBy>
  <cp:revision>7</cp:revision>
  <cp:lastPrinted>2024-11-26T15:16:33Z</cp:lastPrinted>
  <dcterms:created xsi:type="dcterms:W3CDTF">2024-10-21T08:20:22Z</dcterms:created>
  <dcterms:modified xsi:type="dcterms:W3CDTF">2025-05-29T11:1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B83292E0EF4A438E00FF1703D483AC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</Properties>
</file>